
<file path=[Content_Types].xml><?xml version="1.0" encoding="utf-8"?>
<Types xmlns="http://schemas.openxmlformats.org/package/2006/content-types">
  <Default Extension="jpg" ContentType="image/jpeg"/>
  <Default Extension="emf" ContentType="image/x-emf"/>
  <Default Extension="xlsx" ContentType="application/vnd.openxmlformats-officedocument.spreadsheetml.sheet"/>
  <Default Extension="jpeg" ContentType="image/jpeg"/>
  <Default Extension="xml" ContentType="application/xml"/>
  <Default Extension="vml" ContentType="application/vnd.openxmlformats-officedocument.vmlDrawing"/>
  <Default Extension="bin" ContentType="application/vnd.openxmlformats-officedocument.oleObject"/>
  <Default Extension="wdp" ContentType="image/vnd.ms-photo"/>
  <Default Extension="png" ContentType="image/png"/>
  <Default Extension="rels" ContentType="application/vnd.openxmlformats-package.relationships+xml"/>
  <Default Extension="gif" ContentType="image/gif"/>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3" r:id="rId3"/>
    <p:sldMasterId id="2147483722" r:id="rId4"/>
  </p:sldMasterIdLst>
  <p:notesMasterIdLst>
    <p:notesMasterId r:id="rId71"/>
  </p:notesMasterIdLst>
  <p:sldIdLst>
    <p:sldId id="301" r:id="rId5"/>
    <p:sldId id="256" r:id="rId6"/>
    <p:sldId id="257" r:id="rId7"/>
    <p:sldId id="259" r:id="rId8"/>
    <p:sldId id="332" r:id="rId9"/>
    <p:sldId id="333" r:id="rId10"/>
    <p:sldId id="335" r:id="rId11"/>
    <p:sldId id="334" r:id="rId12"/>
    <p:sldId id="336" r:id="rId13"/>
    <p:sldId id="337" r:id="rId14"/>
    <p:sldId id="338" r:id="rId15"/>
    <p:sldId id="339" r:id="rId16"/>
    <p:sldId id="340" r:id="rId17"/>
    <p:sldId id="260" r:id="rId18"/>
    <p:sldId id="261" r:id="rId19"/>
    <p:sldId id="302" r:id="rId20"/>
    <p:sldId id="303" r:id="rId21"/>
    <p:sldId id="263" r:id="rId22"/>
    <p:sldId id="341" r:id="rId23"/>
    <p:sldId id="342" r:id="rId24"/>
    <p:sldId id="264" r:id="rId25"/>
    <p:sldId id="265" r:id="rId26"/>
    <p:sldId id="266" r:id="rId27"/>
    <p:sldId id="268" r:id="rId28"/>
    <p:sldId id="269" r:id="rId29"/>
    <p:sldId id="343" r:id="rId30"/>
    <p:sldId id="344" r:id="rId31"/>
    <p:sldId id="345" r:id="rId32"/>
    <p:sldId id="361" r:id="rId33"/>
    <p:sldId id="347" r:id="rId34"/>
    <p:sldId id="348" r:id="rId35"/>
    <p:sldId id="349" r:id="rId36"/>
    <p:sldId id="350" r:id="rId37"/>
    <p:sldId id="351" r:id="rId38"/>
    <p:sldId id="352" r:id="rId39"/>
    <p:sldId id="353" r:id="rId40"/>
    <p:sldId id="354" r:id="rId41"/>
    <p:sldId id="355" r:id="rId42"/>
    <p:sldId id="356" r:id="rId43"/>
    <p:sldId id="357" r:id="rId44"/>
    <p:sldId id="358" r:id="rId45"/>
    <p:sldId id="359" r:id="rId46"/>
    <p:sldId id="360" r:id="rId47"/>
    <p:sldId id="267" r:id="rId48"/>
    <p:sldId id="270" r:id="rId49"/>
    <p:sldId id="305" r:id="rId50"/>
    <p:sldId id="318" r:id="rId51"/>
    <p:sldId id="328" r:id="rId52"/>
    <p:sldId id="329" r:id="rId53"/>
    <p:sldId id="330" r:id="rId54"/>
    <p:sldId id="331" r:id="rId55"/>
    <p:sldId id="324" r:id="rId56"/>
    <p:sldId id="325" r:id="rId57"/>
    <p:sldId id="327" r:id="rId58"/>
    <p:sldId id="306" r:id="rId59"/>
    <p:sldId id="307" r:id="rId60"/>
    <p:sldId id="309" r:id="rId61"/>
    <p:sldId id="310" r:id="rId62"/>
    <p:sldId id="311" r:id="rId63"/>
    <p:sldId id="312" r:id="rId64"/>
    <p:sldId id="313" r:id="rId65"/>
    <p:sldId id="314" r:id="rId66"/>
    <p:sldId id="315" r:id="rId67"/>
    <p:sldId id="316" r:id="rId68"/>
    <p:sldId id="317" r:id="rId69"/>
    <p:sldId id="300" r:id="rId7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990" autoAdjust="0"/>
    <p:restoredTop sz="89290"/>
  </p:normalViewPr>
  <p:slideViewPr>
    <p:cSldViewPr snapToGrid="0" showGuides="1">
      <p:cViewPr varScale="1">
        <p:scale>
          <a:sx n="116" d="100"/>
          <a:sy n="116" d="100"/>
        </p:scale>
        <p:origin x="224" y="17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70" Type="http://schemas.openxmlformats.org/officeDocument/2006/relationships/slide" Target="slides/slide66.xml"/><Relationship Id="rId71" Type="http://schemas.openxmlformats.org/officeDocument/2006/relationships/notesMaster" Target="notesMasters/notesMaster1.xml"/><Relationship Id="rId72" Type="http://schemas.openxmlformats.org/officeDocument/2006/relationships/presProps" Target="presProps.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73" Type="http://schemas.openxmlformats.org/officeDocument/2006/relationships/viewProps" Target="viewProps.xml"/><Relationship Id="rId74" Type="http://schemas.openxmlformats.org/officeDocument/2006/relationships/theme" Target="theme/theme1.xml"/><Relationship Id="rId75" Type="http://schemas.openxmlformats.org/officeDocument/2006/relationships/tableStyles" Target="tableStyles.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Memory usage when caching</a:t>
            </a:r>
          </a:p>
        </c:rich>
      </c:tx>
      <c:layout/>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Datasets</c:v>
                </c:pt>
              </c:strCache>
            </c:strRef>
          </c:tx>
          <c:spPr>
            <a:solidFill>
              <a:schemeClr val="accent1"/>
            </a:solidFill>
            <a:ln>
              <a:noFill/>
            </a:ln>
            <a:effectLst/>
          </c:spPr>
          <c:invertIfNegative val="0"/>
          <c:dPt>
            <c:idx val="1"/>
            <c:invertIfNegative val="0"/>
            <c:bubble3D val="0"/>
            <c:spPr>
              <a:solidFill>
                <a:schemeClr val="accent2"/>
              </a:solidFill>
              <a:ln>
                <a:noFill/>
              </a:ln>
              <a:effectLst/>
            </c:spPr>
            <c:extLst xmlns:c16r2="http://schemas.microsoft.com/office/drawing/2015/06/chart">
              <c:ext xmlns:c16="http://schemas.microsoft.com/office/drawing/2014/chart" uri="{C3380CC4-5D6E-409C-BE32-E72D297353CC}">
                <c16:uniqueId val="{00000004-1B71-46C0-A352-174125186B48}"/>
              </c:ext>
            </c:extLst>
          </c:dPt>
          <c:cat>
            <c:strRef>
              <c:f>Sheet1!$A$2:$A$3</c:f>
              <c:strCache>
                <c:ptCount val="2"/>
                <c:pt idx="0">
                  <c:v>Datasets</c:v>
                </c:pt>
                <c:pt idx="1">
                  <c:v>RDDs</c:v>
                </c:pt>
              </c:strCache>
            </c:strRef>
          </c:cat>
          <c:val>
            <c:numRef>
              <c:f>Sheet1!$B$2:$B$3</c:f>
              <c:numCache>
                <c:formatCode>General</c:formatCode>
                <c:ptCount val="2"/>
                <c:pt idx="0">
                  <c:v>14.0</c:v>
                </c:pt>
                <c:pt idx="1">
                  <c:v>58.0</c:v>
                </c:pt>
              </c:numCache>
            </c:numRef>
          </c:val>
          <c:extLst xmlns:c16r2="http://schemas.microsoft.com/office/drawing/2015/06/chart">
            <c:ext xmlns:c16="http://schemas.microsoft.com/office/drawing/2014/chart" uri="{C3380CC4-5D6E-409C-BE32-E72D297353CC}">
              <c16:uniqueId val="{00000000-1B71-46C0-A352-174125186B48}"/>
            </c:ext>
          </c:extLst>
        </c:ser>
        <c:dLbls>
          <c:showLegendKey val="0"/>
          <c:showVal val="0"/>
          <c:showCatName val="0"/>
          <c:showSerName val="0"/>
          <c:showPercent val="0"/>
          <c:showBubbleSize val="0"/>
        </c:dLbls>
        <c:gapWidth val="219"/>
        <c:overlap val="-27"/>
        <c:axId val="2086595408"/>
        <c:axId val="2125625120"/>
      </c:barChart>
      <c:catAx>
        <c:axId val="208659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125625120"/>
        <c:crosses val="autoZero"/>
        <c:auto val="1"/>
        <c:lblAlgn val="ctr"/>
        <c:lblOffset val="100"/>
        <c:noMultiLvlLbl val="0"/>
      </c:catAx>
      <c:valAx>
        <c:axId val="21256251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86595408"/>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dirty="0"/>
              <a:t>Serialization / deserialization performance</a:t>
            </a:r>
          </a:p>
        </c:rich>
      </c:tx>
      <c:layout/>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Datasets</c:v>
                </c:pt>
              </c:strCache>
            </c:strRef>
          </c:tx>
          <c:spPr>
            <a:solidFill>
              <a:schemeClr val="accent1"/>
            </a:solidFill>
            <a:ln>
              <a:noFill/>
            </a:ln>
            <a:effectLst/>
          </c:spPr>
          <c:invertIfNegative val="0"/>
          <c:dPt>
            <c:idx val="1"/>
            <c:invertIfNegative val="0"/>
            <c:bubble3D val="0"/>
            <c:spPr>
              <a:solidFill>
                <a:schemeClr val="accent2"/>
              </a:solidFill>
              <a:ln>
                <a:noFill/>
              </a:ln>
              <a:effectLst/>
            </c:spPr>
            <c:extLst xmlns:c16r2="http://schemas.microsoft.com/office/drawing/2015/06/chart">
              <c:ext xmlns:c16="http://schemas.microsoft.com/office/drawing/2014/chart" uri="{C3380CC4-5D6E-409C-BE32-E72D297353CC}">
                <c16:uniqueId val="{00000004-1B71-46C0-A352-174125186B48}"/>
              </c:ext>
            </c:extLst>
          </c:dPt>
          <c:dPt>
            <c:idx val="2"/>
            <c:invertIfNegative val="0"/>
            <c:bubble3D val="0"/>
            <c:spPr>
              <a:solidFill>
                <a:schemeClr val="accent3"/>
              </a:solidFill>
              <a:ln>
                <a:noFill/>
              </a:ln>
              <a:effectLst/>
            </c:spPr>
            <c:extLst xmlns:c16r2="http://schemas.microsoft.com/office/drawing/2015/06/chart">
              <c:ext xmlns:c16="http://schemas.microsoft.com/office/drawing/2014/chart" uri="{C3380CC4-5D6E-409C-BE32-E72D297353CC}">
                <c16:uniqueId val="{00000000-5F7C-4CAD-AD1F-8470F9526332}"/>
              </c:ext>
            </c:extLst>
          </c:dPt>
          <c:cat>
            <c:strRef>
              <c:f>Sheet1!$A$2:$A$4</c:f>
              <c:strCache>
                <c:ptCount val="3"/>
                <c:pt idx="0">
                  <c:v>Java</c:v>
                </c:pt>
                <c:pt idx="1">
                  <c:v>Kryo</c:v>
                </c:pt>
                <c:pt idx="2">
                  <c:v>Tungsten</c:v>
                </c:pt>
              </c:strCache>
            </c:strRef>
          </c:cat>
          <c:val>
            <c:numRef>
              <c:f>Sheet1!$B$2:$B$4</c:f>
              <c:numCache>
                <c:formatCode>General</c:formatCode>
                <c:ptCount val="3"/>
                <c:pt idx="0">
                  <c:v>0.8</c:v>
                </c:pt>
                <c:pt idx="1">
                  <c:v>1.8</c:v>
                </c:pt>
                <c:pt idx="2">
                  <c:v>23.0</c:v>
                </c:pt>
              </c:numCache>
            </c:numRef>
          </c:val>
          <c:extLst xmlns:c16r2="http://schemas.microsoft.com/office/drawing/2015/06/chart">
            <c:ext xmlns:c16="http://schemas.microsoft.com/office/drawing/2014/chart" uri="{C3380CC4-5D6E-409C-BE32-E72D297353CC}">
              <c16:uniqueId val="{00000000-1B71-46C0-A352-174125186B48}"/>
            </c:ext>
          </c:extLst>
        </c:ser>
        <c:dLbls>
          <c:showLegendKey val="0"/>
          <c:showVal val="0"/>
          <c:showCatName val="0"/>
          <c:showSerName val="0"/>
          <c:showPercent val="0"/>
          <c:showBubbleSize val="0"/>
        </c:dLbls>
        <c:gapWidth val="219"/>
        <c:overlap val="-27"/>
        <c:axId val="2126442768"/>
        <c:axId val="2126144784"/>
      </c:barChart>
      <c:catAx>
        <c:axId val="2126442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126144784"/>
        <c:crosses val="autoZero"/>
        <c:auto val="1"/>
        <c:lblAlgn val="ctr"/>
        <c:lblOffset val="100"/>
        <c:noMultiLvlLbl val="0"/>
      </c:catAx>
      <c:valAx>
        <c:axId val="21261447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126442768"/>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1AFB9F-9D92-4F91-8E0F-D486EB17C334}" type="datetimeFigureOut">
              <a:rPr lang="en-US" smtClean="0"/>
              <a:t>8/28/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A6EBB7-9751-4016-B7DF-7A3D4A0CC7D1}" type="slidenum">
              <a:rPr lang="en-US" smtClean="0"/>
              <a:t>‹#›</a:t>
            </a:fld>
            <a:endParaRPr lang="en-US"/>
          </a:p>
        </p:txBody>
      </p:sp>
    </p:spTree>
    <p:extLst>
      <p:ext uri="{BB962C8B-B14F-4D97-AF65-F5344CB8AC3E}">
        <p14:creationId xmlns:p14="http://schemas.microsoft.com/office/powerpoint/2010/main" val="9339657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4" Type="http://schemas.openxmlformats.org/officeDocument/2006/relationships/hyperlink" Target="https://databricks.com/blog/2014/06/02/exciting-performance-improvements-on-the-horizon-for-spark-sql.html" TargetMode="External"/><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4" Type="http://schemas.openxmlformats.org/officeDocument/2006/relationships/hyperlink" Target="https://databricks.com/blog/2014/06/02/exciting-performance-improvements-on-the-horizon-for-spark-sql.html" TargetMode="External"/><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4" Type="http://schemas.openxmlformats.org/officeDocument/2006/relationships/hyperlink" Target="https://databricks.com/blog/2014/06/02/exciting-performance-improvements-on-the-horizon-for-spark-sql.html" TargetMode="External"/><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4" Type="http://schemas.openxmlformats.org/officeDocument/2006/relationships/hyperlink" Target="https://databricks.com/blog/2014/06/02/exciting-performance-improvements-on-the-horizon-for-spark-sql.html" TargetMode="External"/><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4" Type="http://schemas.openxmlformats.org/officeDocument/2006/relationships/hyperlink" Target="https://databricks.com/blog/2014/06/02/exciting-performance-improvements-on-the-horizon-for-spark-sql.html" TargetMode="External"/><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6621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46BACC3-97CA-4E5F-AED5-61699BDB7212}" type="datetime8">
              <a:rPr lang="en-US" smtClean="0"/>
              <a:t>8/28/17 4: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42877710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10</a:t>
            </a:fld>
            <a:endParaRPr lang="en-US"/>
          </a:p>
        </p:txBody>
      </p:sp>
    </p:spTree>
    <p:extLst>
      <p:ext uri="{BB962C8B-B14F-4D97-AF65-F5344CB8AC3E}">
        <p14:creationId xmlns:p14="http://schemas.microsoft.com/office/powerpoint/2010/main" val="16536654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1</a:t>
            </a:fld>
            <a:endParaRPr lang="en-US"/>
          </a:p>
        </p:txBody>
      </p:sp>
    </p:spTree>
    <p:extLst>
      <p:ext uri="{BB962C8B-B14F-4D97-AF65-F5344CB8AC3E}">
        <p14:creationId xmlns:p14="http://schemas.microsoft.com/office/powerpoint/2010/main" val="4911818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2</a:t>
            </a:fld>
            <a:endParaRPr lang="en-US"/>
          </a:p>
        </p:txBody>
      </p:sp>
    </p:spTree>
    <p:extLst>
      <p:ext uri="{BB962C8B-B14F-4D97-AF65-F5344CB8AC3E}">
        <p14:creationId xmlns:p14="http://schemas.microsoft.com/office/powerpoint/2010/main" val="21369496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3</a:t>
            </a:fld>
            <a:endParaRPr lang="en-US"/>
          </a:p>
        </p:txBody>
      </p:sp>
    </p:spTree>
    <p:extLst>
      <p:ext uri="{BB962C8B-B14F-4D97-AF65-F5344CB8AC3E}">
        <p14:creationId xmlns:p14="http://schemas.microsoft.com/office/powerpoint/2010/main" val="8880891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what and how of Spark SQL.</a:t>
            </a:r>
            <a:endParaRPr lang="en-US" b="1" u="sng" dirty="0"/>
          </a:p>
          <a:p>
            <a:endParaRPr lang="en-US" dirty="0"/>
          </a:p>
          <a:p>
            <a:r>
              <a:rPr lang="en-US" b="1" u="sng" dirty="0"/>
              <a:t>Talking</a:t>
            </a:r>
            <a:r>
              <a:rPr lang="en-US" b="1" u="sng" baseline="0" dirty="0"/>
              <a:t> points</a:t>
            </a:r>
            <a:r>
              <a:rPr lang="en-US" b="0" u="none" baseline="0" dirty="0"/>
              <a:t>:</a:t>
            </a:r>
            <a:endParaRPr lang="en-US" sz="1836" dirty="0"/>
          </a:p>
          <a:p>
            <a:pPr lvl="1">
              <a:spcBef>
                <a:spcPts val="612"/>
              </a:spcBef>
            </a:pPr>
            <a:r>
              <a:rPr lang="en-US" sz="1836" dirty="0"/>
              <a:t>Supports SQL and </a:t>
            </a:r>
            <a:r>
              <a:rPr lang="en-US" sz="1836" dirty="0" err="1"/>
              <a:t>HiveQL</a:t>
            </a:r>
            <a:r>
              <a:rPr lang="en-US" sz="1836" dirty="0"/>
              <a:t> as query languages</a:t>
            </a:r>
          </a:p>
          <a:p>
            <a:pPr lvl="1">
              <a:spcBef>
                <a:spcPts val="612"/>
              </a:spcBef>
            </a:pPr>
            <a:r>
              <a:rPr lang="en-US" sz="1836" dirty="0"/>
              <a:t>Its</a:t>
            </a:r>
            <a:r>
              <a:rPr lang="en-US" sz="1836" baseline="0" dirty="0"/>
              <a:t> capabilities include b</a:t>
            </a:r>
            <a:r>
              <a:rPr lang="en-US" sz="1836" dirty="0"/>
              <a:t>inding in Python, Scala, and Java</a:t>
            </a:r>
          </a:p>
          <a:p>
            <a:pPr lvl="1">
              <a:spcBef>
                <a:spcPts val="612"/>
              </a:spcBef>
            </a:pPr>
            <a:r>
              <a:rPr lang="en-US" sz="1836" dirty="0"/>
              <a:t>Can query data stored in external databases, structured data files (example: JSON), and Hive table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4: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43404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escribes the different methods Spark SQL introduces and integrates new data.</a:t>
            </a:r>
            <a:endParaRPr lang="en-US" b="1" u="sng" dirty="0"/>
          </a:p>
          <a:p>
            <a:endParaRPr lang="en-US" dirty="0"/>
          </a:p>
          <a:p>
            <a:r>
              <a:rPr lang="en-US" b="1" u="sng" dirty="0"/>
              <a:t>Talking</a:t>
            </a:r>
            <a:r>
              <a:rPr lang="en-US" b="1" u="sng" baseline="0" dirty="0"/>
              <a:t> points</a:t>
            </a:r>
            <a:r>
              <a:rPr lang="en-US" b="0" u="none" baseline="0" dirty="0"/>
              <a:t>:</a:t>
            </a:r>
          </a:p>
          <a:p>
            <a:r>
              <a:rPr lang="en-US" sz="2000" dirty="0" err="1"/>
              <a:t>SQLContext</a:t>
            </a:r>
            <a:r>
              <a:rPr lang="en-US" sz="2000" dirty="0"/>
              <a:t> is the entry point into all functionality in Spark SQL, or one of its descendants. To create a basic </a:t>
            </a:r>
            <a:r>
              <a:rPr lang="en-US" sz="2000" dirty="0" err="1"/>
              <a:t>SQLContext</a:t>
            </a:r>
            <a:r>
              <a:rPr lang="en-US" sz="2000" dirty="0"/>
              <a:t>, all you need is a </a:t>
            </a:r>
            <a:r>
              <a:rPr lang="en-US" sz="2000" dirty="0" err="1"/>
              <a:t>SparkContext</a:t>
            </a:r>
            <a:r>
              <a:rPr lang="en-US" sz="2000" dirty="0"/>
              <a:t>.</a:t>
            </a:r>
          </a:p>
          <a:p>
            <a:pPr marL="342900" indent="-342900">
              <a:buFont typeface="Arial" panose="020B0604020202020204" pitchFamily="34" charset="0"/>
              <a:buChar char="•"/>
            </a:pPr>
            <a:r>
              <a:rPr lang="en-US" sz="2000" dirty="0"/>
              <a:t>Future releases will focus on bringing </a:t>
            </a:r>
            <a:r>
              <a:rPr lang="en-US" sz="2000" dirty="0" err="1"/>
              <a:t>SQLContext</a:t>
            </a:r>
            <a:r>
              <a:rPr lang="en-US" sz="2000" dirty="0"/>
              <a:t> up to feature parity with a </a:t>
            </a:r>
            <a:r>
              <a:rPr lang="en-US" sz="2000" dirty="0" err="1"/>
              <a:t>HiveContext</a:t>
            </a:r>
            <a:r>
              <a:rPr lang="en-US" sz="2000" dirty="0"/>
              <a:t>.</a:t>
            </a:r>
          </a:p>
          <a:p>
            <a:endParaRPr lang="en-US" sz="2000" dirty="0"/>
          </a:p>
          <a:p>
            <a:r>
              <a:rPr lang="en-US" sz="2000" dirty="0" err="1"/>
              <a:t>HiveContext</a:t>
            </a:r>
            <a:endParaRPr lang="en-US" sz="2000" dirty="0"/>
          </a:p>
          <a:p>
            <a:pPr marL="342900" indent="-342900">
              <a:buFont typeface="Arial" panose="020B0604020202020204" pitchFamily="34" charset="0"/>
              <a:buChar char="•"/>
            </a:pPr>
            <a:r>
              <a:rPr lang="en-US" sz="2000" dirty="0"/>
              <a:t>An instance of the Spark SQL execution engine that integrates with data stored in Hive. Configuration for Hive is read from hive-site.xml on the </a:t>
            </a:r>
            <a:r>
              <a:rPr lang="en-US" sz="2000" dirty="0" err="1"/>
              <a:t>classpath</a:t>
            </a:r>
            <a:r>
              <a:rPr lang="en-US" sz="2000" dirty="0"/>
              <a:t>. To use a </a:t>
            </a:r>
            <a:r>
              <a:rPr lang="en-US" sz="2000" dirty="0" err="1"/>
              <a:t>HiveContext</a:t>
            </a:r>
            <a:r>
              <a:rPr lang="en-US" sz="2000" dirty="0"/>
              <a:t>, you do not need to have an existing Hive setup, and all of the data sources available to a </a:t>
            </a:r>
            <a:r>
              <a:rPr lang="en-US" sz="2000" dirty="0" err="1"/>
              <a:t>SQLContext</a:t>
            </a:r>
            <a:r>
              <a:rPr lang="en-US" sz="2000" dirty="0"/>
              <a:t> are still available. </a:t>
            </a:r>
            <a:r>
              <a:rPr lang="en-US" sz="2000" dirty="0" err="1"/>
              <a:t>HiveContext</a:t>
            </a:r>
            <a:r>
              <a:rPr lang="en-US" sz="2000" dirty="0"/>
              <a:t> is packaged separately to avoid including all of Hive’s dependencies in the default Spark build. If these dependencies are not a problem for your application, then using </a:t>
            </a:r>
            <a:r>
              <a:rPr lang="en-US" sz="2000" dirty="0" err="1"/>
              <a:t>HiveContext</a:t>
            </a:r>
            <a:r>
              <a:rPr lang="en-US" sz="2000" dirty="0"/>
              <a:t> is recommended for the 1.3 release of Spark. </a:t>
            </a:r>
            <a:endParaRPr lang="en-US" sz="1836" dirty="0"/>
          </a:p>
          <a:p>
            <a:pPr marL="234944" lvl="0" indent="-274320">
              <a:spcBef>
                <a:spcPts val="0"/>
              </a:spcBef>
              <a:spcAft>
                <a:spcPts val="0"/>
              </a:spcAft>
              <a:buFont typeface="Arial" panose="020B0604020202020204" pitchFamily="34" charset="0"/>
              <a:buChar char="•"/>
            </a:pPr>
            <a:r>
              <a:rPr lang="en-US" sz="1836" dirty="0" err="1"/>
              <a:t>HiveContext</a:t>
            </a:r>
            <a:r>
              <a:rPr lang="en-US" sz="1836" dirty="0"/>
              <a:t> also</a:t>
            </a:r>
            <a:r>
              <a:rPr lang="en-US" sz="1836" baseline="0" dirty="0"/>
              <a:t> allows you to</a:t>
            </a:r>
            <a:r>
              <a:rPr lang="en-US" sz="1836" dirty="0"/>
              <a:t>:</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Write more using the more complete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parser</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Gain access to Hive UDFs</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ad data from Hive Tables</a:t>
            </a:r>
          </a:p>
          <a:p>
            <a:pPr marL="125638" lvl="0" indent="-274320">
              <a:spcBef>
                <a:spcPts val="1224"/>
              </a:spcBef>
              <a:buFont typeface="Arial" panose="020B0604020202020204" pitchFamily="34" charset="0"/>
              <a:buChar char="•"/>
            </a:pPr>
            <a:r>
              <a:rPr lang="en-US" sz="1836" dirty="0">
                <a:solidFill>
                  <a:schemeClr val="tx1">
                    <a:lumMod val="75000"/>
                    <a:lumOff val="25000"/>
                  </a:schemeClr>
                </a:solidFill>
              </a:rPr>
              <a:t>Use the </a:t>
            </a:r>
            <a:r>
              <a:rPr lang="en-US" sz="1836" i="1" dirty="0" err="1">
                <a:solidFill>
                  <a:schemeClr val="tx1">
                    <a:lumMod val="75000"/>
                    <a:lumOff val="25000"/>
                  </a:schemeClr>
                </a:solidFill>
              </a:rPr>
              <a:t>spark.sql.dialect</a:t>
            </a:r>
            <a:r>
              <a:rPr lang="en-US" sz="1836" dirty="0">
                <a:solidFill>
                  <a:schemeClr val="tx1">
                    <a:lumMod val="75000"/>
                    <a:lumOff val="25000"/>
                  </a:schemeClr>
                </a:solidFill>
              </a:rPr>
              <a:t> option to select the specific variant of the SQL used in the operation. </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SQLContext</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he only option is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s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Context</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he only option is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4: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2407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6</a:t>
            </a:fld>
            <a:endParaRPr lang="en-US"/>
          </a:p>
        </p:txBody>
      </p:sp>
    </p:spTree>
    <p:extLst>
      <p:ext uri="{BB962C8B-B14F-4D97-AF65-F5344CB8AC3E}">
        <p14:creationId xmlns:p14="http://schemas.microsoft.com/office/powerpoint/2010/main" val="17637388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7</a:t>
            </a:fld>
            <a:endParaRPr lang="en-US"/>
          </a:p>
        </p:txBody>
      </p:sp>
    </p:spTree>
    <p:extLst>
      <p:ext uri="{BB962C8B-B14F-4D97-AF65-F5344CB8AC3E}">
        <p14:creationId xmlns:p14="http://schemas.microsoft.com/office/powerpoint/2010/main" val="31596372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architecture of </a:t>
            </a:r>
            <a:r>
              <a:rPr lang="en-US" b="0" u="none" baseline="0" dirty="0" err="1"/>
              <a:t>DataFrames</a:t>
            </a:r>
            <a:r>
              <a:rPr lang="en-US" b="0" u="none" baseline="0" dirty="0"/>
              <a:t> in Spark SQL and how the architecture processes the data.</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A </a:t>
            </a:r>
            <a:r>
              <a:rPr lang="en-US" dirty="0" err="1"/>
              <a:t>DataFrame</a:t>
            </a:r>
            <a:r>
              <a:rPr lang="en-US" dirty="0"/>
              <a:t> is a distributed collection of data organized into named columns. It is conceptually equivalent to a table in a relational database or a data frame in R/Python, but with richer optimizations under the hood. </a:t>
            </a:r>
            <a:r>
              <a:rPr lang="en-US" dirty="0" err="1"/>
              <a:t>DataFrames</a:t>
            </a:r>
            <a:r>
              <a:rPr lang="en-US" dirty="0"/>
              <a:t> can be constructed from a wide array of sources such as: structured data files, tables in Hive, external databases, or existing RDDs.</a:t>
            </a:r>
          </a:p>
          <a:p>
            <a:pPr marL="171450" indent="-171450">
              <a:buFont typeface="Arial" panose="020B0604020202020204" pitchFamily="34" charset="0"/>
              <a:buChar char="•"/>
            </a:pPr>
            <a:r>
              <a:rPr lang="en-US" dirty="0"/>
              <a:t>The </a:t>
            </a:r>
            <a:r>
              <a:rPr lang="en-US" dirty="0" err="1"/>
              <a:t>DataFrame</a:t>
            </a:r>
            <a:r>
              <a:rPr lang="en-US" dirty="0"/>
              <a:t> API is available in Scala, Java, and Python.</a:t>
            </a:r>
          </a:p>
          <a:p>
            <a:pPr marL="171450" indent="-171450">
              <a:buFont typeface="Arial" panose="020B0604020202020204" pitchFamily="34" charset="0"/>
              <a:buChar char="•"/>
            </a:pPr>
            <a:r>
              <a:rPr lang="en-US" dirty="0"/>
              <a:t>Once built, </a:t>
            </a:r>
            <a:r>
              <a:rPr lang="en-US" dirty="0" err="1"/>
              <a:t>DataFrames</a:t>
            </a:r>
            <a:r>
              <a:rPr lang="en-US" dirty="0"/>
              <a:t> provide a domain-specific language for distributed data manipulation. </a:t>
            </a:r>
          </a:p>
          <a:p>
            <a:pPr marL="171450" indent="-171450">
              <a:buFont typeface="Arial" panose="020B0604020202020204" pitchFamily="34" charset="0"/>
              <a:buChar char="•"/>
            </a:pPr>
            <a:r>
              <a:rPr lang="en-US" dirty="0"/>
              <a:t>You can also incorporate Spark SQL while working with </a:t>
            </a:r>
            <a:r>
              <a:rPr lang="en-US" dirty="0" err="1"/>
              <a:t>DataFrames</a:t>
            </a:r>
            <a:r>
              <a:rPr lang="en-US" dirty="0"/>
              <a:t>. </a:t>
            </a:r>
          </a:p>
          <a:p>
            <a:pPr marL="171450" indent="-171450">
              <a:buFont typeface="Arial" panose="020B0604020202020204" pitchFamily="34" charset="0"/>
              <a:buChar char="•"/>
            </a:pPr>
            <a:r>
              <a:rPr lang="en-US" dirty="0"/>
              <a:t>Data scientists are employing increasingly sophisticated techniques that go beyond joins and aggregations. To support this, </a:t>
            </a:r>
            <a:r>
              <a:rPr lang="en-US" dirty="0" err="1"/>
              <a:t>DataFrames</a:t>
            </a:r>
            <a:r>
              <a:rPr lang="en-US" dirty="0"/>
              <a:t> can be used directly in the </a:t>
            </a:r>
            <a:r>
              <a:rPr lang="en-US" dirty="0" err="1"/>
              <a:t>MLlib</a:t>
            </a:r>
            <a:r>
              <a:rPr lang="en-US" dirty="0"/>
              <a:t> machine learning pipeline API.</a:t>
            </a:r>
            <a:r>
              <a:rPr lang="en-US" baseline="0" dirty="0"/>
              <a:t> </a:t>
            </a:r>
            <a:r>
              <a:rPr lang="en-US" dirty="0"/>
              <a:t>In addition, programs can run arbitrarily complex user functions on </a:t>
            </a:r>
            <a:r>
              <a:rPr lang="en-US" dirty="0" err="1"/>
              <a:t>DataFrames</a:t>
            </a:r>
            <a:r>
              <a:rPr lang="en-US" dirty="0"/>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4: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261625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put file example:</a:t>
            </a:r>
          </a:p>
          <a:p>
            <a:r>
              <a:rPr lang="en-US" dirty="0" smtClean="0"/>
              <a:t>coffee</a:t>
            </a:r>
            <a:r>
              <a:rPr lang="en-US" baseline="0" dirty="0" smtClean="0"/>
              <a:t> 10</a:t>
            </a:r>
          </a:p>
          <a:p>
            <a:r>
              <a:rPr lang="en-US" baseline="0" dirty="0" smtClean="0"/>
              <a:t>coffee 20</a:t>
            </a:r>
          </a:p>
          <a:p>
            <a:r>
              <a:rPr lang="en-US" baseline="0" dirty="0" smtClean="0"/>
              <a:t>coffee 32</a:t>
            </a:r>
          </a:p>
          <a:p>
            <a:r>
              <a:rPr lang="en-US" baseline="0" dirty="0" smtClean="0"/>
              <a:t>tea 10</a:t>
            </a:r>
          </a:p>
          <a:p>
            <a:r>
              <a:rPr lang="en-US" baseline="0" dirty="0" smtClean="0"/>
              <a:t>tea 5</a:t>
            </a:r>
          </a:p>
          <a:p>
            <a:r>
              <a:rPr lang="en-US" baseline="0" dirty="0" smtClean="0"/>
              <a:t>tea 30</a:t>
            </a:r>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19</a:t>
            </a:fld>
            <a:endParaRPr lang="en-US"/>
          </a:p>
        </p:txBody>
      </p:sp>
    </p:spTree>
    <p:extLst>
      <p:ext uri="{BB962C8B-B14F-4D97-AF65-F5344CB8AC3E}">
        <p14:creationId xmlns:p14="http://schemas.microsoft.com/office/powerpoint/2010/main" val="15465983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erver and Cloud 2013 Template</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4:5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8872300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20</a:t>
            </a:fld>
            <a:endParaRPr lang="en-US"/>
          </a:p>
        </p:txBody>
      </p:sp>
    </p:spTree>
    <p:extLst>
      <p:ext uri="{BB962C8B-B14F-4D97-AF65-F5344CB8AC3E}">
        <p14:creationId xmlns:p14="http://schemas.microsoft.com/office/powerpoint/2010/main" val="19812564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 </a:t>
            </a:r>
            <a:r>
              <a:rPr lang="en-US" b="0" u="none" baseline="0" dirty="0"/>
              <a:t>the different ways a </a:t>
            </a:r>
            <a:r>
              <a:rPr lang="en-US" b="0" u="none" baseline="0" dirty="0" err="1"/>
              <a:t>DataFrame</a:t>
            </a:r>
            <a:r>
              <a:rPr lang="en-US" b="0" u="none" baseline="0" dirty="0"/>
              <a:t> can be created through a data sourc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operating on a variety of data sources through the </a:t>
            </a:r>
            <a:r>
              <a:rPr lang="en-US" dirty="0" err="1">
                <a:effectLst/>
              </a:rPr>
              <a:t>DataFrame</a:t>
            </a:r>
            <a:r>
              <a:rPr lang="en-US" dirty="0">
                <a:effectLst/>
              </a:rPr>
              <a:t> interface. A </a:t>
            </a:r>
            <a:r>
              <a:rPr lang="en-US" dirty="0" err="1">
                <a:effectLst/>
              </a:rPr>
              <a:t>DataFrame</a:t>
            </a:r>
            <a:r>
              <a:rPr lang="en-US" dirty="0">
                <a:effectLst/>
              </a:rPr>
              <a:t> can be operated on as a normal RDD and or registered as a temporary table. Registering a </a:t>
            </a:r>
            <a:r>
              <a:rPr lang="en-US" dirty="0" err="1">
                <a:effectLst/>
              </a:rPr>
              <a:t>DataFrame</a:t>
            </a:r>
            <a:r>
              <a:rPr lang="en-US" dirty="0">
                <a:effectLst/>
              </a:rPr>
              <a:t> as a table allows you to run SQL queries over its data. This section describes the general methods for loading and saving data using the Spark data sources and then goes into specific options that are available for the built-in data sources.</a:t>
            </a:r>
          </a:p>
          <a:p>
            <a:endParaRPr lang="en-US" dirty="0">
              <a:effectLst/>
            </a:endParaRPr>
          </a:p>
          <a:p>
            <a:r>
              <a:rPr lang="en-US" dirty="0">
                <a:effectLst/>
              </a:rPr>
              <a:t>JSON file</a:t>
            </a:r>
          </a:p>
          <a:p>
            <a:pPr marL="171450" indent="-171450">
              <a:buFont typeface="Arial" panose="020B0604020202020204" pitchFamily="34" charset="0"/>
              <a:buChar char="•"/>
            </a:pPr>
            <a:r>
              <a:rPr lang="en-US" dirty="0">
                <a:effectLst/>
              </a:rPr>
              <a:t>You can also manually specify the data source that will be used along with any extra options that you would like to pass to the data source. Data sources are specified by their fully qualified name (for</a:t>
            </a:r>
            <a:r>
              <a:rPr lang="en-US" baseline="0" dirty="0">
                <a:effectLst/>
              </a:rPr>
              <a:t> example</a:t>
            </a:r>
            <a:r>
              <a:rPr lang="en-US" dirty="0">
                <a:effectLst/>
              </a:rPr>
              <a:t>, </a:t>
            </a:r>
            <a:r>
              <a:rPr lang="en-US" dirty="0" err="1">
                <a:effectLst/>
              </a:rPr>
              <a:t>org.apache.spark.sql.parquet</a:t>
            </a:r>
            <a:r>
              <a:rPr lang="en-US" dirty="0">
                <a:effectLst/>
              </a:rPr>
              <a:t>), but for built-in sources you can also use the shortened name (JSON, Parquet, JDBC). </a:t>
            </a:r>
            <a:r>
              <a:rPr lang="en-US" dirty="0" err="1">
                <a:effectLst/>
              </a:rPr>
              <a:t>DataFrames</a:t>
            </a:r>
            <a:r>
              <a:rPr lang="en-US" dirty="0">
                <a:effectLst/>
              </a:rPr>
              <a:t> of any type can be converted into other types using this syntax.</a:t>
            </a:r>
          </a:p>
          <a:p>
            <a:pPr marL="171450" indent="-171450">
              <a:buFont typeface="Arial" panose="020B0604020202020204" pitchFamily="34" charset="0"/>
              <a:buChar char="•"/>
            </a:pPr>
            <a:r>
              <a:rPr lang="en-US" dirty="0">
                <a:effectLst/>
              </a:rPr>
              <a:t>Spark SQL can automatically infer the schema of a JSON dataset and load it as a </a:t>
            </a:r>
            <a:r>
              <a:rPr lang="en-US" dirty="0" err="1">
                <a:effectLst/>
              </a:rPr>
              <a:t>DataFrame</a:t>
            </a:r>
            <a:r>
              <a:rPr lang="en-US" dirty="0">
                <a:effectLst/>
              </a:rPr>
              <a:t>. This conversion can be done using one of two methods in a </a:t>
            </a:r>
            <a:r>
              <a:rPr lang="en-US" dirty="0" err="1">
                <a:effectLst/>
              </a:rPr>
              <a:t>SQLContext</a:t>
            </a:r>
            <a:r>
              <a:rPr lang="en-US" dirty="0">
                <a:effectLst/>
              </a:rPr>
              <a:t>:</a:t>
            </a:r>
          </a:p>
          <a:p>
            <a:pPr marL="506114" lvl="2" indent="-171450">
              <a:buFont typeface="Arial" panose="020B0604020202020204" pitchFamily="34" charset="0"/>
              <a:buChar char="•"/>
            </a:pPr>
            <a:r>
              <a:rPr lang="en-US" dirty="0" err="1">
                <a:effectLst/>
              </a:rPr>
              <a:t>jsonFile</a:t>
            </a:r>
            <a:r>
              <a:rPr lang="en-US" dirty="0">
                <a:effectLst/>
              </a:rPr>
              <a:t> – Loads data from a directory of JSON files, where each line of the files is a JSON object.</a:t>
            </a:r>
          </a:p>
          <a:p>
            <a:pPr marL="506114" lvl="2" indent="-171450">
              <a:buFont typeface="Arial" panose="020B0604020202020204" pitchFamily="34" charset="0"/>
              <a:buChar char="•"/>
            </a:pPr>
            <a:r>
              <a:rPr lang="en-US" dirty="0" err="1">
                <a:effectLst/>
              </a:rPr>
              <a:t>jsonRDD</a:t>
            </a:r>
            <a:r>
              <a:rPr lang="en-US" dirty="0">
                <a:effectLst/>
              </a:rPr>
              <a:t> – Loads data from an existing RDD, where each element of the RDD is a string containing a JSON object.</a:t>
            </a:r>
          </a:p>
          <a:p>
            <a:pPr marL="171450" indent="-171450">
              <a:buFont typeface="Arial" panose="020B0604020202020204" pitchFamily="34" charset="0"/>
              <a:buChar char="•"/>
            </a:pPr>
            <a:r>
              <a:rPr lang="en-US" dirty="0">
                <a:effectLst/>
              </a:rPr>
              <a:t>Note that the file that is offered as </a:t>
            </a:r>
            <a:r>
              <a:rPr lang="en-US" i="1" dirty="0" err="1">
                <a:effectLst/>
              </a:rPr>
              <a:t>jsonFile</a:t>
            </a:r>
            <a:r>
              <a:rPr lang="en-US" dirty="0">
                <a:effectLst/>
              </a:rPr>
              <a:t> is not a typical JSON file. Each line must contain a separate, self-contained valid JSON object. As a consequence, a regular multi-line JSON file will most often fail.</a:t>
            </a:r>
          </a:p>
          <a:p>
            <a:endParaRPr lang="en-US" dirty="0">
              <a:effectLst/>
            </a:endParaRPr>
          </a:p>
          <a:p>
            <a:r>
              <a:rPr lang="en-US" dirty="0">
                <a:effectLst/>
              </a:rPr>
              <a:t>Hive table</a:t>
            </a:r>
          </a:p>
          <a:p>
            <a:pPr marL="171450" indent="-171450">
              <a:buFont typeface="Arial" panose="020B0604020202020204" pitchFamily="34" charset="0"/>
              <a:buChar char="•"/>
            </a:pPr>
            <a:r>
              <a:rPr lang="en-US" dirty="0">
                <a:effectLst/>
              </a:rPr>
              <a:t>Spark SQL also supports reading and writing data stored in Apache Hive.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endParaRPr lang="en-US" dirty="0">
              <a:effectLst/>
            </a:endParaRPr>
          </a:p>
          <a:p>
            <a:r>
              <a:rPr lang="en-US" dirty="0">
                <a:effectLst/>
              </a:rPr>
              <a:t>Parquet file</a:t>
            </a:r>
          </a:p>
          <a:p>
            <a:pPr marL="171450" indent="-171450">
              <a:buFont typeface="Arial" panose="020B0604020202020204" pitchFamily="34" charset="0"/>
              <a:buChar char="•"/>
            </a:pPr>
            <a:r>
              <a:rPr lang="en-US" dirty="0">
                <a:effectLst/>
              </a:rPr>
              <a:t>In the simplest form, the default data source (parquet unless otherwise configured by </a:t>
            </a:r>
            <a:r>
              <a:rPr lang="en-US" dirty="0" err="1">
                <a:effectLst/>
              </a:rPr>
              <a:t>spark.sql.sources.default</a:t>
            </a:r>
            <a:r>
              <a:rPr lang="en-US" dirty="0">
                <a:effectLst/>
              </a:rPr>
              <a:t>) will be used for all operations.</a:t>
            </a:r>
          </a:p>
          <a:p>
            <a:pPr marL="171450" indent="-171450">
              <a:buFont typeface="Arial" panose="020B0604020202020204" pitchFamily="34" charset="0"/>
              <a:buChar char="•"/>
            </a:pPr>
            <a:endParaRPr lang="en-US" dirty="0">
              <a:effectLst/>
            </a:endParaRPr>
          </a:p>
          <a:p>
            <a:pPr marL="0" indent="0">
              <a:buFont typeface="Arial" panose="020B0604020202020204" pitchFamily="34" charset="0"/>
              <a:buNone/>
            </a:pPr>
            <a:r>
              <a:rPr lang="en-US" dirty="0">
                <a:effectLst/>
              </a:rPr>
              <a:t>Java Database Connectivity (JDBC)</a:t>
            </a:r>
            <a:r>
              <a:rPr lang="en-US" baseline="0" dirty="0">
                <a:effectLst/>
              </a:rPr>
              <a:t> source</a:t>
            </a:r>
          </a:p>
          <a:p>
            <a:pPr marL="171450" indent="-171450">
              <a:buFont typeface="Arial" panose="020B0604020202020204" pitchFamily="34" charset="0"/>
              <a:buChar char="•"/>
            </a:pPr>
            <a:r>
              <a:rPr lang="en-US" dirty="0">
                <a:effectLst/>
              </a:rPr>
              <a:t>Spark SQL also includes a data source that can read data from other databases using JDBC. This functionality should be preferred over using </a:t>
            </a:r>
            <a:r>
              <a:rPr lang="en-US" dirty="0" err="1">
                <a:effectLst/>
              </a:rPr>
              <a:t>JdbcRDD</a:t>
            </a:r>
            <a:r>
              <a:rPr lang="en-US" dirty="0">
                <a:effectLst/>
              </a:rPr>
              <a:t>. This is because the results are returned as a </a:t>
            </a:r>
            <a:r>
              <a:rPr lang="en-US" dirty="0" err="1">
                <a:effectLst/>
              </a:rPr>
              <a:t>DataFrame</a:t>
            </a:r>
            <a:r>
              <a:rPr lang="en-US" dirty="0">
                <a:effectLst/>
              </a:rPr>
              <a:t> and can be easily processed in Spark SQL or joined with other data sources. The JDBC data source is also easier to use from Java or Python as it does not require the user to provide a </a:t>
            </a:r>
            <a:r>
              <a:rPr lang="en-US" dirty="0" err="1">
                <a:effectLst/>
              </a:rPr>
              <a:t>ClassTag</a:t>
            </a:r>
            <a:r>
              <a:rPr lang="en-US" dirty="0">
                <a:effectLst/>
              </a:rPr>
              <a:t>. (Note that this is different than the Spark SQL JDBC server, which allows other applications to run queries using Spark SQ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4: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361262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 </a:t>
            </a:r>
            <a:r>
              <a:rPr lang="en-US" b="0" u="none" baseline="0" dirty="0"/>
              <a:t>the different ways a </a:t>
            </a:r>
            <a:r>
              <a:rPr lang="en-US" b="0" u="none" baseline="0" dirty="0" err="1"/>
              <a:t>DataFrame</a:t>
            </a:r>
            <a:r>
              <a:rPr lang="en-US" b="0" u="none" baseline="0" dirty="0"/>
              <a:t> can be created through an RDD.</a:t>
            </a:r>
            <a:endParaRPr lang="en-US" b="1" u="sng" dirty="0"/>
          </a:p>
          <a:p>
            <a:endParaRPr lang="en-US" dirty="0"/>
          </a:p>
          <a:p>
            <a:r>
              <a:rPr lang="en-US" b="1" u="sng" dirty="0"/>
              <a:t>Talking</a:t>
            </a:r>
            <a:r>
              <a:rPr lang="en-US" b="1" u="sng" baseline="0" dirty="0"/>
              <a:t> points</a:t>
            </a:r>
            <a:r>
              <a:rPr lang="en-US" b="0" u="none" baseline="0" dirty="0"/>
              <a:t>:</a:t>
            </a:r>
          </a:p>
          <a:p>
            <a:r>
              <a:rPr lang="en-US" dirty="0"/>
              <a:t>Using reflection:</a:t>
            </a:r>
          </a:p>
          <a:p>
            <a:pPr marL="171450" indent="-171450">
              <a:buFont typeface="Arial" panose="020B0604020202020204" pitchFamily="34" charset="0"/>
              <a:buChar char="•"/>
            </a:pPr>
            <a:r>
              <a:rPr lang="en-US" dirty="0">
                <a:effectLst/>
              </a:rPr>
              <a:t>The Scala interface for Spark SQL supports automatically converting an RDD containing case classes to a </a:t>
            </a:r>
            <a:r>
              <a:rPr lang="en-US" dirty="0" err="1">
                <a:effectLst/>
              </a:rPr>
              <a:t>DataFrame</a:t>
            </a:r>
            <a:r>
              <a:rPr lang="en-US" dirty="0">
                <a:effectLst/>
              </a:rPr>
              <a:t>. The case class defines the schema of the table. The names of the arguments to the case class are read using reflection and become the names of the columns. Case classes can also be nested or contain complex types such as sequences or arrays. This RDD can be implicitly converted to a </a:t>
            </a:r>
            <a:r>
              <a:rPr lang="en-US" dirty="0" err="1">
                <a:effectLst/>
              </a:rPr>
              <a:t>DataFrame</a:t>
            </a:r>
            <a:r>
              <a:rPr lang="en-US" dirty="0">
                <a:effectLst/>
              </a:rPr>
              <a:t> and then registered as a table. Tables can be used in subsequent SQL statements.</a:t>
            </a:r>
          </a:p>
          <a:p>
            <a:endParaRPr lang="en-US" dirty="0">
              <a:effectLst/>
            </a:endParaRPr>
          </a:p>
          <a:p>
            <a:r>
              <a:rPr lang="en-US" dirty="0">
                <a:effectLst/>
              </a:rPr>
              <a:t>Specifying</a:t>
            </a:r>
            <a:r>
              <a:rPr lang="en-US" baseline="0" dirty="0">
                <a:effectLst/>
              </a:rPr>
              <a:t> the schema programmatically:</a:t>
            </a:r>
          </a:p>
          <a:p>
            <a:pPr marL="171450" indent="-171450">
              <a:buFont typeface="Arial" panose="020B0604020202020204" pitchFamily="34" charset="0"/>
              <a:buChar char="•"/>
            </a:pPr>
            <a:r>
              <a:rPr lang="en-US" dirty="0">
                <a:effectLst/>
              </a:rPr>
              <a:t>When case classes cannot be defined ahead of time (for example, the structure of records is encoded in a string, or a text dataset will be parsed and fields projected differently for distinct users), a </a:t>
            </a:r>
            <a:r>
              <a:rPr lang="en-US" dirty="0" err="1">
                <a:effectLst/>
              </a:rPr>
              <a:t>DataFrame</a:t>
            </a:r>
            <a:r>
              <a:rPr lang="en-US" dirty="0">
                <a:effectLst/>
              </a:rPr>
              <a:t> can be created programmatically with three steps:</a:t>
            </a:r>
          </a:p>
          <a:p>
            <a:pPr marL="445862" lvl="1" indent="-228600">
              <a:buFont typeface="+mj-lt"/>
              <a:buAutoNum type="arabicPeriod"/>
            </a:pPr>
            <a:r>
              <a:rPr lang="en-US" dirty="0">
                <a:effectLst/>
              </a:rPr>
              <a:t>Create an RDD of rows from the original RDD</a:t>
            </a:r>
          </a:p>
          <a:p>
            <a:pPr marL="445862" lvl="1" indent="-228600">
              <a:buFont typeface="+mj-lt"/>
              <a:buAutoNum type="arabicPeriod"/>
            </a:pPr>
            <a:r>
              <a:rPr lang="en-US" dirty="0">
                <a:effectLst/>
              </a:rPr>
              <a:t>Create the schema represented by a </a:t>
            </a:r>
            <a:r>
              <a:rPr lang="en-US" dirty="0" err="1">
                <a:effectLst/>
              </a:rPr>
              <a:t>StructType</a:t>
            </a:r>
            <a:r>
              <a:rPr lang="en-US" dirty="0">
                <a:effectLst/>
              </a:rPr>
              <a:t> matching the structure of rows in the RDD created in Step 1</a:t>
            </a:r>
          </a:p>
          <a:p>
            <a:pPr marL="445862" lvl="1" indent="-228600">
              <a:buFont typeface="+mj-lt"/>
              <a:buAutoNum type="arabicPeriod"/>
            </a:pPr>
            <a:r>
              <a:rPr lang="en-US" dirty="0">
                <a:effectLst/>
              </a:rPr>
              <a:t>Apply the schema to the RDD of rows via the </a:t>
            </a:r>
            <a:r>
              <a:rPr lang="en-US" dirty="0" err="1">
                <a:effectLst/>
              </a:rPr>
              <a:t>createDataFrame</a:t>
            </a:r>
            <a:r>
              <a:rPr lang="en-US" dirty="0">
                <a:effectLst/>
              </a:rPr>
              <a:t> method provided by </a:t>
            </a:r>
            <a:r>
              <a:rPr lang="en-US" dirty="0" err="1">
                <a:effectLst/>
              </a:rPr>
              <a:t>SQLContext</a:t>
            </a:r>
            <a:r>
              <a:rPr lang="en-US" dirty="0">
                <a:effectLst/>
              </a:rPr>
              <a:t>.</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4: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314089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a:t>
            </a:r>
            <a:r>
              <a:rPr lang="en-US" b="0" u="none" baseline="0" dirty="0"/>
              <a:t> the various </a:t>
            </a:r>
            <a:r>
              <a:rPr lang="en-US" b="0" u="none" baseline="0" dirty="0" err="1"/>
              <a:t>DataFrame</a:t>
            </a:r>
            <a:r>
              <a:rPr lang="en-US" b="0" u="none" baseline="0" dirty="0"/>
              <a:t> operations in Scala, Java, and Python.</a:t>
            </a:r>
            <a:endParaRPr lang="en-US" b="1" u="sng" dirty="0"/>
          </a:p>
          <a:p>
            <a:endParaRPr lang="en-US" dirty="0"/>
          </a:p>
          <a:p>
            <a:r>
              <a:rPr lang="en-US" b="1" u="sng" dirty="0"/>
              <a:t>Talking</a:t>
            </a:r>
            <a:r>
              <a:rPr lang="en-US" b="1" u="sng" baseline="0" dirty="0"/>
              <a:t> points</a:t>
            </a:r>
            <a:r>
              <a:rPr lang="en-US" b="0" u="none" baseline="0" dirty="0"/>
              <a:t>:</a:t>
            </a:r>
          </a:p>
          <a:p>
            <a:r>
              <a:rPr lang="en-US" dirty="0"/>
              <a:t>Through</a:t>
            </a:r>
            <a:r>
              <a:rPr lang="en-US" baseline="0" dirty="0"/>
              <a:t> certain </a:t>
            </a:r>
            <a:r>
              <a:rPr lang="en-US" baseline="0" dirty="0" err="1"/>
              <a:t>DataFrame</a:t>
            </a:r>
            <a:r>
              <a:rPr lang="en-US" baseline="0" dirty="0"/>
              <a:t> operations, you can use </a:t>
            </a:r>
            <a:r>
              <a:rPr lang="en-US" baseline="0" dirty="0" err="1"/>
              <a:t>SQLContext</a:t>
            </a:r>
            <a:r>
              <a:rPr lang="en-US" baseline="0" dirty="0"/>
              <a:t> to understand the construction and demographics of your data.</a:t>
            </a:r>
          </a:p>
          <a:p>
            <a:r>
              <a:rPr lang="en-US" baseline="0" dirty="0" err="1"/>
              <a:t>df.show</a:t>
            </a:r>
            <a:r>
              <a:rPr lang="en-US" baseline="0" dirty="0"/>
              <a:t>() – This operation shows the contents of the data you have selected</a:t>
            </a:r>
          </a:p>
          <a:p>
            <a:r>
              <a:rPr lang="en-US" baseline="0" dirty="0" err="1"/>
              <a:t>df.printSchema</a:t>
            </a:r>
            <a:r>
              <a:rPr lang="en-US" baseline="0" dirty="0"/>
              <a:t>() – This operation prints your schema (table) in a tree format</a:t>
            </a:r>
          </a:p>
          <a:p>
            <a:r>
              <a:rPr lang="en-US" baseline="0" dirty="0" err="1"/>
              <a:t>df.select</a:t>
            </a:r>
            <a:r>
              <a:rPr lang="en-US" baseline="0" dirty="0"/>
              <a:t>(“name”).show() – This operation will select and display the name you have selected for the columns you’ve specified</a:t>
            </a:r>
          </a:p>
          <a:p>
            <a:r>
              <a:rPr lang="en-US" baseline="0" dirty="0" err="1"/>
              <a:t>df.select</a:t>
            </a:r>
            <a:r>
              <a:rPr lang="en-US" baseline="0" dirty="0"/>
              <a:t>(</a:t>
            </a:r>
            <a:r>
              <a:rPr lang="en-US" baseline="0" dirty="0" err="1"/>
              <a:t>dr</a:t>
            </a:r>
            <a:r>
              <a:rPr lang="en-US" baseline="0" dirty="0"/>
              <a:t>(“name”),</a:t>
            </a:r>
            <a:r>
              <a:rPr lang="en-US" baseline="0" dirty="0" err="1"/>
              <a:t>df</a:t>
            </a:r>
            <a:r>
              <a:rPr lang="en-US" baseline="0" dirty="0"/>
              <a:t>(“age”) + 1).show() – This operation example will select all your data as well as add one to each of the ages shown</a:t>
            </a:r>
          </a:p>
          <a:p>
            <a:r>
              <a:rPr lang="en-US" baseline="0" dirty="0" err="1"/>
              <a:t>df.filter</a:t>
            </a:r>
            <a:r>
              <a:rPr lang="en-US" baseline="0" dirty="0"/>
              <a:t>(</a:t>
            </a:r>
            <a:r>
              <a:rPr lang="en-US" baseline="0" dirty="0" err="1"/>
              <a:t>df</a:t>
            </a:r>
            <a:r>
              <a:rPr lang="en-US" baseline="0" dirty="0"/>
              <a:t>(“age”) &gt; a21.show() – This operation example will select all data that shows that the data is greater than 21</a:t>
            </a:r>
          </a:p>
          <a:p>
            <a:r>
              <a:rPr lang="en-US" baseline="0" dirty="0" err="1"/>
              <a:t>Df.groupBy</a:t>
            </a:r>
            <a:r>
              <a:rPr lang="en-US" baseline="0" dirty="0"/>
              <a:t>(“age”).count().show() – This operation example will count the data you’ve selected by age and show you only the results that meet the criteria you’ve presented</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4: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21776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frames</a:t>
            </a:r>
            <a:r>
              <a:rPr lang="en-US" b="0" u="none" baseline="0" dirty="0"/>
              <a:t> the </a:t>
            </a:r>
            <a:r>
              <a:rPr lang="en-US" b="0" u="none" baseline="0" dirty="0" err="1"/>
              <a:t>DataFrames</a:t>
            </a:r>
            <a:r>
              <a:rPr lang="en-US" b="0" u="none" baseline="0" dirty="0"/>
              <a:t> that can be registered as a table to be used in SQL queries.</a:t>
            </a:r>
            <a:endParaRPr lang="en-US" b="1" u="sng" dirty="0"/>
          </a:p>
          <a:p>
            <a:endParaRPr lang="en-US" dirty="0"/>
          </a:p>
          <a:p>
            <a:r>
              <a:rPr lang="en-US" b="1" u="sng" dirty="0"/>
              <a:t>Talking</a:t>
            </a:r>
            <a:r>
              <a:rPr lang="en-US" b="1" u="sng" baseline="0" dirty="0"/>
              <a:t> points</a:t>
            </a:r>
            <a:r>
              <a:rPr lang="en-US" b="0" u="none" baseline="0" dirty="0"/>
              <a:t>:</a:t>
            </a:r>
          </a:p>
          <a:p>
            <a:r>
              <a:rPr lang="en-US" dirty="0"/>
              <a:t>To analyze</a:t>
            </a:r>
            <a:r>
              <a:rPr lang="en-US" baseline="0" dirty="0"/>
              <a:t> or query your data in SQL, you can use the following method to create and register your </a:t>
            </a:r>
            <a:r>
              <a:rPr lang="en-US" baseline="0" dirty="0" err="1"/>
              <a:t>DataFrame</a:t>
            </a:r>
            <a:r>
              <a:rPr lang="en-US" baseline="0" dirty="0"/>
              <a:t> from a JSON file into </a:t>
            </a:r>
            <a:r>
              <a:rPr lang="en-US" baseline="0" dirty="0" err="1"/>
              <a:t>SQLContext</a:t>
            </a:r>
            <a:r>
              <a:rPr lang="en-US" baseline="0" dirty="0"/>
              <a:t> to perform executable SQL queries.</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4: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210616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how Spark SQL supports reading and writing data stored</a:t>
            </a:r>
            <a:r>
              <a:rPr lang="en-US" b="0" u="none" baseline="0" dirty="0"/>
              <a:t> in another tool, Apache Hiv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reading and writing data stored in Apache</a:t>
            </a:r>
            <a:r>
              <a:rPr lang="en-US" baseline="0" dirty="0">
                <a:effectLst/>
              </a:rPr>
              <a:t> Hive</a:t>
            </a:r>
            <a:r>
              <a:rPr lang="en-US" dirty="0">
                <a:effectLst/>
              </a:rPr>
              <a:t>.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pPr marL="171450" indent="-171450">
              <a:buFont typeface="Arial" panose="020B0604020202020204" pitchFamily="34" charset="0"/>
              <a:buChar char="•"/>
            </a:pPr>
            <a:r>
              <a:rPr lang="en-US" dirty="0"/>
              <a:t>Saving to persistent tables:</a:t>
            </a:r>
          </a:p>
          <a:p>
            <a:pPr marL="388712" lvl="1" indent="-171450">
              <a:buFont typeface="Arial" panose="020B0604020202020204" pitchFamily="34" charset="0"/>
              <a:buChar char="•"/>
            </a:pPr>
            <a:r>
              <a:rPr lang="en-US" dirty="0"/>
              <a:t>When working with a </a:t>
            </a:r>
            <a:r>
              <a:rPr lang="en-US" dirty="0" err="1"/>
              <a:t>HiveContext</a:t>
            </a:r>
            <a:r>
              <a:rPr lang="en-US" dirty="0"/>
              <a:t>, it is possible to save a </a:t>
            </a:r>
            <a:r>
              <a:rPr lang="en-US" dirty="0" err="1"/>
              <a:t>DataFrame</a:t>
            </a:r>
            <a:r>
              <a:rPr lang="en-US" dirty="0"/>
              <a:t> persistently. Persistent tables continue to exist even after your Spark program has restarted. Just make sure to maintain your connection to the same </a:t>
            </a:r>
            <a:r>
              <a:rPr lang="en-US" dirty="0" err="1"/>
              <a:t>metastore</a:t>
            </a:r>
            <a:r>
              <a:rPr lang="en-US" dirty="0"/>
              <a:t>.</a:t>
            </a:r>
          </a:p>
          <a:p>
            <a:pPr marL="388712" lvl="1" indent="-171450">
              <a:buFont typeface="Arial" panose="020B0604020202020204" pitchFamily="34" charset="0"/>
              <a:buChar char="•"/>
            </a:pPr>
            <a:r>
              <a:rPr lang="en-US" dirty="0" err="1"/>
              <a:t>saveAsTable</a:t>
            </a:r>
            <a:r>
              <a:rPr lang="en-US" dirty="0"/>
              <a:t>() saves the content of the </a:t>
            </a:r>
            <a:r>
              <a:rPr lang="en-US" dirty="0" err="1"/>
              <a:t>DataFrame</a:t>
            </a:r>
            <a:r>
              <a:rPr lang="en-US" dirty="0"/>
              <a:t> to a data source as a table. It then materializes the contents of the </a:t>
            </a:r>
            <a:r>
              <a:rPr lang="en-US" dirty="0" err="1"/>
              <a:t>DataFrame</a:t>
            </a:r>
            <a:r>
              <a:rPr lang="en-US" dirty="0"/>
              <a:t> and creates a pointer to the data in the </a:t>
            </a:r>
            <a:r>
              <a:rPr lang="en-US" dirty="0" err="1"/>
              <a:t>HiveMetastore</a:t>
            </a:r>
            <a:r>
              <a:rPr lang="en-US" dirty="0"/>
              <a:t>.</a:t>
            </a:r>
          </a:p>
          <a:p>
            <a:pPr marL="388712" lvl="1" indent="-171450">
              <a:buFont typeface="Arial" panose="020B0604020202020204" pitchFamily="34" charset="0"/>
              <a:buChar char="•"/>
            </a:pPr>
            <a:r>
              <a:rPr lang="en-US" dirty="0"/>
              <a:t>By default, </a:t>
            </a:r>
            <a:r>
              <a:rPr lang="en-US" dirty="0" err="1"/>
              <a:t>saveAsTable</a:t>
            </a:r>
            <a:r>
              <a:rPr lang="en-US" dirty="0"/>
              <a:t> creates a “managed table.” The megastore controls the location of the data, and automatically deletes data on the managed tables when a table is dropped.</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4: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02127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4: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00571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4: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7685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far, we’ve talked about transparent and structured computations.</a:t>
            </a:r>
          </a:p>
          <a:p>
            <a:r>
              <a:rPr lang="en-US" dirty="0" smtClean="0"/>
              <a:t>Now,</a:t>
            </a:r>
            <a:r>
              <a:rPr lang="en-US" baseline="0" dirty="0" smtClean="0"/>
              <a:t> we’ll talk about structured data model – direct memory.</a:t>
            </a:r>
          </a:p>
          <a:p>
            <a:r>
              <a:rPr lang="en-US" baseline="0" dirty="0" smtClean="0"/>
              <a:t>Tungsten brought the structured data model to full fruition in spark 2.0</a:t>
            </a:r>
          </a:p>
          <a:p>
            <a:r>
              <a:rPr lang="en-US" baseline="0" dirty="0" smtClean="0"/>
              <a:t>Now Spark takes over memory management off JVM, data is stored as flat-memory arrays directly in Spark and off the Java-heap.</a:t>
            </a:r>
          </a:p>
          <a:p>
            <a:r>
              <a:rPr lang="en-US" baseline="0" dirty="0" smtClean="0"/>
              <a:t>If doesn’t fit in Array, structures, or dictionaries, data will fall back on java heap.</a:t>
            </a:r>
            <a:endParaRPr lang="en-US" dirty="0"/>
          </a:p>
        </p:txBody>
      </p:sp>
      <p:sp>
        <p:nvSpPr>
          <p:cNvPr id="4" name="Slide Number Placeholder 3"/>
          <p:cNvSpPr>
            <a:spLocks noGrp="1"/>
          </p:cNvSpPr>
          <p:nvPr>
            <p:ph type="sldNum" sz="quarter" idx="10"/>
          </p:nvPr>
        </p:nvSpPr>
        <p:spPr/>
        <p:txBody>
          <a:bodyPr/>
          <a:lstStyle/>
          <a:p>
            <a:fld id="{68A6EBB7-9751-4016-B7DF-7A3D4A0CC7D1}" type="slidenum">
              <a:rPr lang="en-US" smtClean="0"/>
              <a:t>36</a:t>
            </a:fld>
            <a:endParaRPr lang="en-US"/>
          </a:p>
        </p:txBody>
      </p:sp>
    </p:spTree>
    <p:extLst>
      <p:ext uri="{BB962C8B-B14F-4D97-AF65-F5344CB8AC3E}">
        <p14:creationId xmlns:p14="http://schemas.microsoft.com/office/powerpoint/2010/main" val="4758365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how Spark SQL supports reading and writing data stored</a:t>
            </a:r>
            <a:r>
              <a:rPr lang="en-US" b="0" u="none" baseline="0" dirty="0"/>
              <a:t> in another tool, Apache Hiv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reading and writing data stored in Apache</a:t>
            </a:r>
            <a:r>
              <a:rPr lang="en-US" baseline="0" dirty="0">
                <a:effectLst/>
              </a:rPr>
              <a:t> Hive</a:t>
            </a:r>
            <a:r>
              <a:rPr lang="en-US" dirty="0">
                <a:effectLst/>
              </a:rPr>
              <a:t>.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pPr marL="171450" indent="-171450">
              <a:buFont typeface="Arial" panose="020B0604020202020204" pitchFamily="34" charset="0"/>
              <a:buChar char="•"/>
            </a:pPr>
            <a:r>
              <a:rPr lang="en-US" dirty="0"/>
              <a:t>Saving to persistent tables:</a:t>
            </a:r>
          </a:p>
          <a:p>
            <a:pPr marL="388712" lvl="1" indent="-171450">
              <a:buFont typeface="Arial" panose="020B0604020202020204" pitchFamily="34" charset="0"/>
              <a:buChar char="•"/>
            </a:pPr>
            <a:r>
              <a:rPr lang="en-US" dirty="0"/>
              <a:t>When working with a </a:t>
            </a:r>
            <a:r>
              <a:rPr lang="en-US" dirty="0" err="1"/>
              <a:t>HiveContext</a:t>
            </a:r>
            <a:r>
              <a:rPr lang="en-US" dirty="0"/>
              <a:t>, it is possible to save a </a:t>
            </a:r>
            <a:r>
              <a:rPr lang="en-US" dirty="0" err="1"/>
              <a:t>DataFrame</a:t>
            </a:r>
            <a:r>
              <a:rPr lang="en-US" dirty="0"/>
              <a:t> persistently. Persistent tables continue to exist even after your Spark program has restarted. Just make sure to maintain your connection to the same </a:t>
            </a:r>
            <a:r>
              <a:rPr lang="en-US" dirty="0" err="1"/>
              <a:t>metastore</a:t>
            </a:r>
            <a:r>
              <a:rPr lang="en-US" dirty="0"/>
              <a:t>.</a:t>
            </a:r>
          </a:p>
          <a:p>
            <a:pPr marL="388712" lvl="1" indent="-171450">
              <a:buFont typeface="Arial" panose="020B0604020202020204" pitchFamily="34" charset="0"/>
              <a:buChar char="•"/>
            </a:pPr>
            <a:r>
              <a:rPr lang="en-US" dirty="0" err="1"/>
              <a:t>saveAsTable</a:t>
            </a:r>
            <a:r>
              <a:rPr lang="en-US" dirty="0"/>
              <a:t>() saves the content of the </a:t>
            </a:r>
            <a:r>
              <a:rPr lang="en-US" dirty="0" err="1"/>
              <a:t>DataFrame</a:t>
            </a:r>
            <a:r>
              <a:rPr lang="en-US" dirty="0"/>
              <a:t> to a data source as a table. It then materializes the contents of the </a:t>
            </a:r>
            <a:r>
              <a:rPr lang="en-US" dirty="0" err="1"/>
              <a:t>DataFrame</a:t>
            </a:r>
            <a:r>
              <a:rPr lang="en-US" dirty="0"/>
              <a:t> and creates a pointer to the data in the </a:t>
            </a:r>
            <a:r>
              <a:rPr lang="en-US" dirty="0" err="1"/>
              <a:t>HiveMetastore</a:t>
            </a:r>
            <a:r>
              <a:rPr lang="en-US" dirty="0"/>
              <a:t>.</a:t>
            </a:r>
          </a:p>
          <a:p>
            <a:pPr marL="388712" lvl="1" indent="-171450">
              <a:buFont typeface="Arial" panose="020B0604020202020204" pitchFamily="34" charset="0"/>
              <a:buChar char="•"/>
            </a:pPr>
            <a:r>
              <a:rPr lang="en-US" dirty="0"/>
              <a:t>By default, </a:t>
            </a:r>
            <a:r>
              <a:rPr lang="en-US" dirty="0" err="1"/>
              <a:t>saveAsTable</a:t>
            </a:r>
            <a:r>
              <a:rPr lang="en-US" dirty="0"/>
              <a:t> creates a “managed table.” The megastore controls the location of the data, and automatically deletes data on the managed tables when a table is dropped.</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4: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4867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4:5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6167529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46</a:t>
            </a:fld>
            <a:endParaRPr lang="en-US"/>
          </a:p>
        </p:txBody>
      </p:sp>
    </p:spTree>
    <p:extLst>
      <p:ext uri="{BB962C8B-B14F-4D97-AF65-F5344CB8AC3E}">
        <p14:creationId xmlns:p14="http://schemas.microsoft.com/office/powerpoint/2010/main" val="32156344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47</a:t>
            </a:fld>
            <a:endParaRPr lang="en-US"/>
          </a:p>
        </p:txBody>
      </p:sp>
    </p:spTree>
    <p:extLst>
      <p:ext uri="{BB962C8B-B14F-4D97-AF65-F5344CB8AC3E}">
        <p14:creationId xmlns:p14="http://schemas.microsoft.com/office/powerpoint/2010/main" val="32797986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48</a:t>
            </a:fld>
            <a:endParaRPr lang="en-US"/>
          </a:p>
        </p:txBody>
      </p:sp>
    </p:spTree>
    <p:extLst>
      <p:ext uri="{BB962C8B-B14F-4D97-AF65-F5344CB8AC3E}">
        <p14:creationId xmlns:p14="http://schemas.microsoft.com/office/powerpoint/2010/main" val="37334542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49</a:t>
            </a:fld>
            <a:endParaRPr lang="en-US"/>
          </a:p>
        </p:txBody>
      </p:sp>
    </p:spTree>
    <p:extLst>
      <p:ext uri="{BB962C8B-B14F-4D97-AF65-F5344CB8AC3E}">
        <p14:creationId xmlns:p14="http://schemas.microsoft.com/office/powerpoint/2010/main" val="1339401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50</a:t>
            </a:fld>
            <a:endParaRPr lang="en-US"/>
          </a:p>
        </p:txBody>
      </p:sp>
    </p:spTree>
    <p:extLst>
      <p:ext uri="{BB962C8B-B14F-4D97-AF65-F5344CB8AC3E}">
        <p14:creationId xmlns:p14="http://schemas.microsoft.com/office/powerpoint/2010/main" val="25778493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51</a:t>
            </a:fld>
            <a:endParaRPr lang="en-US"/>
          </a:p>
        </p:txBody>
      </p:sp>
    </p:spTree>
    <p:extLst>
      <p:ext uri="{BB962C8B-B14F-4D97-AF65-F5344CB8AC3E}">
        <p14:creationId xmlns:p14="http://schemas.microsoft.com/office/powerpoint/2010/main" val="90584105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52</a:t>
            </a:fld>
            <a:endParaRPr lang="en-US"/>
          </a:p>
        </p:txBody>
      </p:sp>
    </p:spTree>
    <p:extLst>
      <p:ext uri="{BB962C8B-B14F-4D97-AF65-F5344CB8AC3E}">
        <p14:creationId xmlns:p14="http://schemas.microsoft.com/office/powerpoint/2010/main" val="35122723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53</a:t>
            </a:fld>
            <a:endParaRPr lang="en-US"/>
          </a:p>
        </p:txBody>
      </p:sp>
    </p:spTree>
    <p:extLst>
      <p:ext uri="{BB962C8B-B14F-4D97-AF65-F5344CB8AC3E}">
        <p14:creationId xmlns:p14="http://schemas.microsoft.com/office/powerpoint/2010/main" val="23378504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Can you also please repeat what are the ~3 fundamental transformations that you use when processing the DAG of DFs?“</a:t>
            </a:r>
          </a:p>
          <a:p>
            <a:endParaRPr lang="en-US" sz="1200" b="0" i="0" kern="1200" dirty="0">
              <a:solidFill>
                <a:schemeClr val="tx1"/>
              </a:solidFill>
              <a:effectLst/>
              <a:latin typeface="+mn-lt"/>
              <a:ea typeface="ＭＳ Ｐゴシック" charset="0"/>
            </a:endParaRPr>
          </a:p>
          <a:p>
            <a:r>
              <a:rPr lang="en-US" sz="1200" b="0" i="0" kern="1200" dirty="0">
                <a:solidFill>
                  <a:schemeClr val="tx1"/>
                </a:solidFill>
                <a:effectLst/>
                <a:latin typeface="+mn-lt"/>
                <a:ea typeface="ＭＳ Ｐゴシック" charset="0"/>
                <a:cs typeface="ＭＳ Ｐゴシック" charset="0"/>
              </a:rPr>
              <a:t>Note that Spark </a:t>
            </a:r>
            <a:r>
              <a:rPr lang="en-US" sz="1200" b="0" i="0" kern="1200" dirty="0" err="1">
                <a:solidFill>
                  <a:schemeClr val="tx1"/>
                </a:solidFill>
                <a:effectLst/>
                <a:latin typeface="+mn-lt"/>
                <a:ea typeface="ＭＳ Ｐゴシック" charset="0"/>
                <a:cs typeface="ＭＳ Ｐゴシック" charset="0"/>
              </a:rPr>
              <a:t>conf</a:t>
            </a:r>
            <a:r>
              <a:rPr lang="en-US" sz="1200" b="0" i="0" kern="1200" dirty="0">
                <a:solidFill>
                  <a:schemeClr val="tx1"/>
                </a:solidFill>
                <a:effectLst/>
                <a:latin typeface="+mn-lt"/>
                <a:ea typeface="ＭＳ Ｐゴシック" charset="0"/>
                <a:cs typeface="ＭＳ Ｐゴシック" charset="0"/>
              </a:rPr>
              <a:t> can't be altered, but </a:t>
            </a:r>
            <a:r>
              <a:rPr lang="en-US" sz="1200" b="0" i="0" kern="1200" dirty="0" err="1">
                <a:solidFill>
                  <a:schemeClr val="tx1"/>
                </a:solidFill>
                <a:effectLst/>
                <a:latin typeface="+mn-lt"/>
                <a:ea typeface="ＭＳ Ｐゴシック" charset="0"/>
                <a:cs typeface="ＭＳ Ｐゴシック" charset="0"/>
              </a:rPr>
              <a:t>sql</a:t>
            </a:r>
            <a:r>
              <a:rPr lang="en-US" sz="1200" b="0" i="0" kern="1200" dirty="0">
                <a:solidFill>
                  <a:schemeClr val="tx1"/>
                </a:solidFill>
                <a:effectLst/>
                <a:latin typeface="+mn-lt"/>
                <a:ea typeface="ＭＳ Ｐゴシック" charset="0"/>
                <a:cs typeface="ＭＳ Ｐゴシック" charset="0"/>
              </a:rPr>
              <a:t> </a:t>
            </a:r>
            <a:r>
              <a:rPr lang="en-US" sz="1200" b="0" i="0" kern="1200" dirty="0" err="1">
                <a:solidFill>
                  <a:schemeClr val="tx1"/>
                </a:solidFill>
                <a:effectLst/>
                <a:latin typeface="+mn-lt"/>
                <a:ea typeface="ＭＳ Ｐゴシック" charset="0"/>
                <a:cs typeface="ＭＳ Ｐゴシック" charset="0"/>
              </a:rPr>
              <a:t>config</a:t>
            </a:r>
            <a:r>
              <a:rPr lang="en-US" sz="1200" b="0" i="0" kern="1200" dirty="0">
                <a:solidFill>
                  <a:schemeClr val="tx1"/>
                </a:solidFill>
                <a:effectLst/>
                <a:latin typeface="+mn-lt"/>
                <a:ea typeface="ＭＳ Ｐゴシック" charset="0"/>
                <a:cs typeface="ＭＳ Ｐゴシック" charset="0"/>
              </a:rPr>
              <a:t> can.</a:t>
            </a:r>
            <a:endParaRPr lang="en-US" dirty="0"/>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54</a:t>
            </a:fld>
            <a:endParaRPr lang="en-US"/>
          </a:p>
        </p:txBody>
      </p:sp>
    </p:spTree>
    <p:extLst>
      <p:ext uri="{BB962C8B-B14F-4D97-AF65-F5344CB8AC3E}">
        <p14:creationId xmlns:p14="http://schemas.microsoft.com/office/powerpoint/2010/main" val="347595544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55</a:t>
            </a:fld>
            <a:endParaRPr lang="en-US"/>
          </a:p>
        </p:txBody>
      </p:sp>
    </p:spTree>
    <p:extLst>
      <p:ext uri="{BB962C8B-B14F-4D97-AF65-F5344CB8AC3E}">
        <p14:creationId xmlns:p14="http://schemas.microsoft.com/office/powerpoint/2010/main" val="8849812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what and how of Spark SQL.</a:t>
            </a:r>
            <a:endParaRPr lang="en-US" b="1" u="sng" dirty="0"/>
          </a:p>
          <a:p>
            <a:endParaRPr lang="en-US" dirty="0"/>
          </a:p>
          <a:p>
            <a:r>
              <a:rPr lang="en-US" b="1" u="sng" dirty="0"/>
              <a:t>Talking</a:t>
            </a:r>
            <a:r>
              <a:rPr lang="en-US" b="1" u="sng" baseline="0" dirty="0"/>
              <a:t> points</a:t>
            </a:r>
            <a:r>
              <a:rPr lang="en-US" b="0" u="none" baseline="0" dirty="0"/>
              <a:t>:</a:t>
            </a:r>
          </a:p>
          <a:p>
            <a:pPr lvl="1">
              <a:spcBef>
                <a:spcPts val="612"/>
              </a:spcBef>
              <a:spcAft>
                <a:spcPts val="0"/>
              </a:spcAft>
            </a:pPr>
            <a:r>
              <a:rPr lang="en-US" sz="1836" dirty="0"/>
              <a:t>Functions as an extension to Spark for processing structured data</a:t>
            </a:r>
          </a:p>
          <a:p>
            <a:pPr lvl="2">
              <a:spcBef>
                <a:spcPts val="612"/>
              </a:spcBef>
              <a:spcAft>
                <a:spcPts val="0"/>
              </a:spcAft>
            </a:pP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art of the core distribution since Spark 1.0 (April 2014)</a:t>
            </a:r>
          </a:p>
          <a:p>
            <a:pPr lvl="1">
              <a:spcBef>
                <a:spcPts val="612"/>
              </a:spcBef>
            </a:pPr>
            <a:r>
              <a:rPr lang="en-US" sz="1836" dirty="0"/>
              <a:t>It is a distributed SQL query engine </a:t>
            </a:r>
          </a:p>
          <a:p>
            <a:pPr lvl="1">
              <a:spcBef>
                <a:spcPts val="612"/>
              </a:spcBef>
            </a:pPr>
            <a:r>
              <a:rPr lang="en-US" sz="1836" dirty="0"/>
              <a:t>It is also a general purpose distributed data processing API</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4: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36992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56</a:t>
            </a:fld>
            <a:endParaRPr lang="en-US"/>
          </a:p>
        </p:txBody>
      </p:sp>
    </p:spTree>
    <p:extLst>
      <p:ext uri="{BB962C8B-B14F-4D97-AF65-F5344CB8AC3E}">
        <p14:creationId xmlns:p14="http://schemas.microsoft.com/office/powerpoint/2010/main" val="32203995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57</a:t>
            </a:fld>
            <a:endParaRPr lang="en-US"/>
          </a:p>
        </p:txBody>
      </p:sp>
    </p:spTree>
    <p:extLst>
      <p:ext uri="{BB962C8B-B14F-4D97-AF65-F5344CB8AC3E}">
        <p14:creationId xmlns:p14="http://schemas.microsoft.com/office/powerpoint/2010/main" val="14950809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people to the Spark Programming Guide (</a:t>
            </a:r>
            <a:r>
              <a:rPr lang="en-US" dirty="0" err="1"/>
              <a:t>spark.apache.org</a:t>
            </a:r>
            <a:r>
              <a:rPr lang="en-US" dirty="0"/>
              <a:t>)</a:t>
            </a:r>
            <a:r>
              <a:rPr lang="en-US" baseline="0" dirty="0"/>
              <a:t> for all the gory details.</a:t>
            </a:r>
            <a:endParaRPr lang="en-US" dirty="0"/>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58</a:t>
            </a:fld>
            <a:endParaRPr lang="en-US"/>
          </a:p>
        </p:txBody>
      </p:sp>
    </p:spTree>
    <p:extLst>
      <p:ext uri="{BB962C8B-B14F-4D97-AF65-F5344CB8AC3E}">
        <p14:creationId xmlns:p14="http://schemas.microsoft.com/office/powerpoint/2010/main" val="133620470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59</a:t>
            </a:fld>
            <a:endParaRPr lang="en-US"/>
          </a:p>
        </p:txBody>
      </p:sp>
    </p:spTree>
    <p:extLst>
      <p:ext uri="{BB962C8B-B14F-4D97-AF65-F5344CB8AC3E}">
        <p14:creationId xmlns:p14="http://schemas.microsoft.com/office/powerpoint/2010/main" val="20591911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aseline="0" dirty="0"/>
              <a:t>Notice this is problematic, all columns are treated as strings (including age)</a:t>
            </a:r>
            <a:endParaRPr lang="en-US" dirty="0"/>
          </a:p>
          <a:p>
            <a:pPr marL="0" indent="0">
              <a:buNone/>
            </a:pPr>
            <a:endParaRPr lang="en-US" dirty="0"/>
          </a:p>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60</a:t>
            </a:fld>
            <a:endParaRPr lang="en-US"/>
          </a:p>
        </p:txBody>
      </p:sp>
    </p:spTree>
    <p:extLst>
      <p:ext uri="{BB962C8B-B14F-4D97-AF65-F5344CB8AC3E}">
        <p14:creationId xmlns:p14="http://schemas.microsoft.com/office/powerpoint/2010/main" val="28327209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This</a:t>
            </a:r>
            <a:r>
              <a:rPr lang="en-US" baseline="0" dirty="0"/>
              <a:t> also works in Scala…</a:t>
            </a:r>
          </a:p>
          <a:p>
            <a:pPr marL="0" indent="0">
              <a:buNone/>
            </a:pPr>
            <a:endParaRPr lang="en-US" baseline="0" dirty="0"/>
          </a:p>
          <a:p>
            <a:pPr marL="0" indent="0">
              <a:buNone/>
            </a:pPr>
            <a:r>
              <a:rPr lang="en-US" baseline="0" dirty="0"/>
              <a:t>Notice this is problematic, all columns are treated as strings (including age)</a:t>
            </a:r>
            <a:endParaRPr lang="en-US" dirty="0"/>
          </a:p>
          <a:p>
            <a:pPr marL="0" indent="0">
              <a:buNone/>
            </a:pPr>
            <a:endParaRPr lang="en-US" dirty="0"/>
          </a:p>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61</a:t>
            </a:fld>
            <a:endParaRPr lang="en-US"/>
          </a:p>
        </p:txBody>
      </p:sp>
    </p:spTree>
    <p:extLst>
      <p:ext uri="{BB962C8B-B14F-4D97-AF65-F5344CB8AC3E}">
        <p14:creationId xmlns:p14="http://schemas.microsoft.com/office/powerpoint/2010/main" val="352532314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62</a:t>
            </a:fld>
            <a:endParaRPr lang="en-US"/>
          </a:p>
        </p:txBody>
      </p:sp>
    </p:spTree>
    <p:extLst>
      <p:ext uri="{BB962C8B-B14F-4D97-AF65-F5344CB8AC3E}">
        <p14:creationId xmlns:p14="http://schemas.microsoft.com/office/powerpoint/2010/main" val="244933038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You’d want to be more robust</a:t>
            </a:r>
            <a:r>
              <a:rPr lang="en-US" baseline="0" dirty="0"/>
              <a:t> about parsing CSV in real life.</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63</a:t>
            </a:fld>
            <a:endParaRPr lang="en-US"/>
          </a:p>
        </p:txBody>
      </p:sp>
    </p:spTree>
    <p:extLst>
      <p:ext uri="{BB962C8B-B14F-4D97-AF65-F5344CB8AC3E}">
        <p14:creationId xmlns:p14="http://schemas.microsoft.com/office/powerpoint/2010/main" val="70437081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64</a:t>
            </a:fld>
            <a:endParaRPr lang="en-US"/>
          </a:p>
        </p:txBody>
      </p:sp>
    </p:spTree>
    <p:extLst>
      <p:ext uri="{BB962C8B-B14F-4D97-AF65-F5344CB8AC3E}">
        <p14:creationId xmlns:p14="http://schemas.microsoft.com/office/powerpoint/2010/main" val="339029118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65</a:t>
            </a:fld>
            <a:endParaRPr lang="en-US"/>
          </a:p>
        </p:txBody>
      </p:sp>
    </p:spTree>
    <p:extLst>
      <p:ext uri="{BB962C8B-B14F-4D97-AF65-F5344CB8AC3E}">
        <p14:creationId xmlns:p14="http://schemas.microsoft.com/office/powerpoint/2010/main" val="21076588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5</a:t>
            </a:fld>
            <a:endParaRPr lang="en-US"/>
          </a:p>
        </p:txBody>
      </p:sp>
    </p:spTree>
    <p:extLst>
      <p:ext uri="{BB962C8B-B14F-4D97-AF65-F5344CB8AC3E}">
        <p14:creationId xmlns:p14="http://schemas.microsoft.com/office/powerpoint/2010/main" val="18949999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6</a:t>
            </a:fld>
            <a:endParaRPr lang="en-US"/>
          </a:p>
        </p:txBody>
      </p:sp>
    </p:spTree>
    <p:extLst>
      <p:ext uri="{BB962C8B-B14F-4D97-AF65-F5344CB8AC3E}">
        <p14:creationId xmlns:p14="http://schemas.microsoft.com/office/powerpoint/2010/main" val="15820915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7</a:t>
            </a:fld>
            <a:endParaRPr lang="en-US"/>
          </a:p>
        </p:txBody>
      </p:sp>
    </p:spTree>
    <p:extLst>
      <p:ext uri="{BB962C8B-B14F-4D97-AF65-F5344CB8AC3E}">
        <p14:creationId xmlns:p14="http://schemas.microsoft.com/office/powerpoint/2010/main" val="2190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519AE34-0624-8F4B-9FB8-27D0EFDF760C}" type="slidenum">
              <a:rPr lang="en-US" smtClean="0"/>
              <a:pPr>
                <a:defRPr/>
              </a:pPr>
              <a:t>8</a:t>
            </a:fld>
            <a:endParaRPr lang="en-US"/>
          </a:p>
        </p:txBody>
      </p:sp>
    </p:spTree>
    <p:extLst>
      <p:ext uri="{BB962C8B-B14F-4D97-AF65-F5344CB8AC3E}">
        <p14:creationId xmlns:p14="http://schemas.microsoft.com/office/powerpoint/2010/main" val="5266956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9</a:t>
            </a:fld>
            <a:endParaRPr lang="en-US"/>
          </a:p>
        </p:txBody>
      </p:sp>
    </p:spTree>
    <p:extLst>
      <p:ext uri="{BB962C8B-B14F-4D97-AF65-F5344CB8AC3E}">
        <p14:creationId xmlns:p14="http://schemas.microsoft.com/office/powerpoint/2010/main" val="10394476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 Id="rId3"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 Id="rId3" Type="http://schemas.microsoft.com/office/2007/relationships/hdphoto" Target="../media/hdphoto1.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jpeg"/><Relationship Id="rId4" Type="http://schemas.openxmlformats.org/officeDocument/2006/relationships/image" Target="../media/image12.png"/><Relationship Id="rId5" Type="http://schemas.openxmlformats.org/officeDocument/2006/relationships/image" Target="../media/image13.png"/><Relationship Id="rId1" Type="http://schemas.openxmlformats.org/officeDocument/2006/relationships/slideMaster" Target="../slideMasters/slideMaster4.xml"/><Relationship Id="rId2" Type="http://schemas.openxmlformats.org/officeDocument/2006/relationships/image" Target="../media/image10.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4.jpe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5.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6.jpe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902886C-5595-4DEA-926C-27AD71ED8B13}" type="datetimeFigureOut">
              <a:rPr lang="en-US" smtClean="0"/>
              <a:t>8/28/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7356630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02886C-5595-4DEA-926C-27AD71ED8B13}" type="datetimeFigureOut">
              <a:rPr lang="en-US" smtClean="0"/>
              <a:t>8/28/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5523431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02886C-5595-4DEA-926C-27AD71ED8B13}" type="datetimeFigureOut">
              <a:rPr lang="en-US" smtClean="0"/>
              <a:t>8/28/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42259011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5" y="-623"/>
            <a:ext cx="12191377" cy="6858623"/>
          </a:xfrm>
          <a:prstGeom prst="rect">
            <a:avLst/>
          </a:prstGeom>
        </p:spPr>
      </p:pic>
      <p:sp>
        <p:nvSpPr>
          <p:cNvPr id="2" name="Rectangle 1"/>
          <p:cNvSpPr/>
          <p:nvPr/>
        </p:nvSpPr>
        <p:spPr bwMode="auto">
          <a:xfrm>
            <a:off x="5644613" y="2103820"/>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4"/>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4057" y="6043945"/>
            <a:ext cx="1653406" cy="356169"/>
          </a:xfrm>
          <a:prstGeom prst="rect">
            <a:avLst/>
          </a:prstGeom>
        </p:spPr>
      </p:pic>
    </p:spTree>
    <p:extLst>
      <p:ext uri="{BB962C8B-B14F-4D97-AF65-F5344CB8AC3E}">
        <p14:creationId xmlns:p14="http://schemas.microsoft.com/office/powerpoint/2010/main" val="2272231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5" y="2084175"/>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503" y="6043945"/>
            <a:ext cx="1653406" cy="356169"/>
          </a:xfrm>
          <a:prstGeom prst="rect">
            <a:avLst/>
          </a:prstGeom>
        </p:spPr>
      </p:pic>
    </p:spTree>
    <p:extLst>
      <p:ext uri="{BB962C8B-B14F-4D97-AF65-F5344CB8AC3E}">
        <p14:creationId xmlns:p14="http://schemas.microsoft.com/office/powerpoint/2010/main" val="327886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7"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5" spc="-99"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48212" y="470070"/>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48212" y="863774"/>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46717" y="6029314"/>
            <a:ext cx="1668788" cy="358621"/>
          </a:xfrm>
          <a:prstGeom prst="rect">
            <a:avLst/>
          </a:prstGeom>
        </p:spPr>
      </p:pic>
    </p:spTree>
    <p:extLst>
      <p:ext uri="{BB962C8B-B14F-4D97-AF65-F5344CB8AC3E}">
        <p14:creationId xmlns:p14="http://schemas.microsoft.com/office/powerpoint/2010/main" val="9348567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2"/>
                    </a:gs>
                    <a:gs pos="99000">
                      <a:schemeClr val="tx2"/>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836982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1"/>
                    </a:gs>
                    <a:gs pos="99000">
                      <a:schemeClr val="tx1"/>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457264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911068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00074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716668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02886C-5595-4DEA-926C-27AD71ED8B13}" type="datetimeFigureOut">
              <a:rPr lang="en-US" smtClean="0"/>
              <a:t>8/28/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6580415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622462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93893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88148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76090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3"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87715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60266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4094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72566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468164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9816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902886C-5595-4DEA-926C-27AD71ED8B13}" type="datetimeFigureOut">
              <a:rPr lang="en-US" smtClean="0"/>
              <a:t>8/28/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13301461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6877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993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8363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252" fontAlgn="base">
              <a:spcBef>
                <a:spcPct val="0"/>
              </a:spcBef>
              <a:spcAft>
                <a:spcPct val="0"/>
              </a:spcAft>
            </a:pPr>
            <a:endParaRPr lang="en-US" sz="145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7322"/>
            <a:ext cx="11653522" cy="1957476"/>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64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4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558620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2"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4073"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111" y="3083655"/>
            <a:ext cx="3214044" cy="690695"/>
          </a:xfrm>
          <a:prstGeom prst="rect">
            <a:avLst/>
          </a:prstGeom>
        </p:spPr>
      </p:pic>
    </p:spTree>
    <p:extLst>
      <p:ext uri="{BB962C8B-B14F-4D97-AF65-F5344CB8AC3E}">
        <p14:creationId xmlns:p14="http://schemas.microsoft.com/office/powerpoint/2010/main" val="5847298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298"/>
          </a:xfrm>
          <a:prstGeom prst="rect">
            <a:avLst/>
          </a:prstGeom>
        </p:spPr>
        <p:txBody>
          <a:bodyPr/>
          <a:lstStyle>
            <a:lvl1pPr marL="284836" indent="-284836">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34" indent="-27549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170" indent="-28483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302" indent="-224134">
              <a:buClr>
                <a:schemeClr val="tx1"/>
              </a:buClr>
              <a:buSzPct val="90000"/>
              <a:buFont typeface="Arial" pitchFamily="34" charset="0"/>
              <a:buChar char="•"/>
              <a:defRPr sz="235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435" indent="-224134">
              <a:buClr>
                <a:schemeClr val="tx1"/>
              </a:buClr>
              <a:buSzPct val="90000"/>
              <a:buFont typeface="Arial" pitchFamily="34" charset="0"/>
              <a:buChar char="•"/>
              <a:defRPr sz="196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57072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69303" y="291069"/>
            <a:ext cx="5378485" cy="1793104"/>
          </a:xfrm>
          <a:noFill/>
        </p:spPr>
        <p:txBody>
          <a:bodyPr lIns="182880" tIns="146304" rIns="182880" bIns="146304"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9303" y="6614871"/>
            <a:ext cx="865062" cy="1888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24404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59607" cy="134483"/>
          </a:xfrm>
          <a:prstGeom prst="rect">
            <a:avLst/>
          </a:prstGeom>
        </p:spPr>
        <p:txBody>
          <a:bodyPr/>
          <a:lstStyle>
            <a:lvl1pPr>
              <a:defRPr>
                <a:solidFill>
                  <a:schemeClr val="tx2"/>
                </a:solidFill>
              </a:defRPr>
            </a:lvl1pPr>
          </a:lstStyle>
          <a:p>
            <a:pPr defTabSz="913505" fontAlgn="base">
              <a:spcBef>
                <a:spcPct val="0"/>
              </a:spcBef>
              <a:spcAft>
                <a:spcPct val="0"/>
              </a:spcAft>
            </a:pPr>
            <a:r>
              <a:rPr lang="en-US" sz="2353">
                <a:solidFill>
                  <a:srgbClr val="505050"/>
                </a:solidFill>
                <a:ea typeface="MS PGothic" charset="0"/>
              </a:rPr>
              <a:t>Microsoft Confidential</a:t>
            </a:r>
            <a:endParaRPr lang="en-US" sz="2353" dirty="0">
              <a:solidFill>
                <a:srgbClr val="505050"/>
              </a:solidFill>
              <a:ea typeface="MS PGothic" charset="0"/>
            </a:endParaRPr>
          </a:p>
        </p:txBody>
      </p:sp>
      <p:sp>
        <p:nvSpPr>
          <p:cNvPr id="6" name="Slide Number Placeholder 5"/>
          <p:cNvSpPr>
            <a:spLocks noGrp="1"/>
          </p:cNvSpPr>
          <p:nvPr>
            <p:ph type="sldNum" sz="quarter" idx="12"/>
          </p:nvPr>
        </p:nvSpPr>
        <p:spPr>
          <a:xfrm>
            <a:off x="11367166" y="6437243"/>
            <a:ext cx="555596" cy="134483"/>
          </a:xfrm>
          <a:prstGeom prst="rect">
            <a:avLst/>
          </a:prstGeom>
        </p:spPr>
        <p:txBody>
          <a:bodyPr/>
          <a:lstStyle>
            <a:lvl1pPr>
              <a:defRPr>
                <a:solidFill>
                  <a:schemeClr val="tx2"/>
                </a:solidFill>
              </a:defRPr>
            </a:lvl1pPr>
          </a:lstStyle>
          <a:p>
            <a:pPr defTabSz="913505" fontAlgn="base">
              <a:spcBef>
                <a:spcPct val="0"/>
              </a:spcBef>
              <a:spcAft>
                <a:spcPct val="0"/>
              </a:spcAft>
            </a:pPr>
            <a:fld id="{27258FFF-F925-446B-8502-81C933981705}" type="slidenum">
              <a:rPr lang="en-US" sz="2353" smtClean="0">
                <a:solidFill>
                  <a:srgbClr val="505050"/>
                </a:solidFill>
                <a:ea typeface="MS PGothic" charset="0"/>
              </a:rPr>
              <a:pPr defTabSz="913505" fontAlgn="base">
                <a:spcBef>
                  <a:spcPct val="0"/>
                </a:spcBef>
                <a:spcAft>
                  <a:spcPct val="0"/>
                </a:spcAft>
              </a:pPr>
              <a:t>‹#›</a:t>
            </a:fld>
            <a:endParaRPr lang="en-US" sz="2353" dirty="0">
              <a:solidFill>
                <a:srgbClr val="505050"/>
              </a:solidFill>
              <a:ea typeface="MS PGothic" charset="0"/>
            </a:endParaRPr>
          </a:p>
        </p:txBody>
      </p:sp>
      <p:sp>
        <p:nvSpPr>
          <p:cNvPr id="7" name="Text Placeholder 4"/>
          <p:cNvSpPr>
            <a:spLocks noGrp="1"/>
          </p:cNvSpPr>
          <p:nvPr>
            <p:ph type="body" sz="quarter" idx="13"/>
          </p:nvPr>
        </p:nvSpPr>
        <p:spPr>
          <a:xfrm>
            <a:off x="0" y="361911"/>
            <a:ext cx="11026337" cy="1004683"/>
          </a:xfrm>
          <a:prstGeom prst="rect">
            <a:avLst/>
          </a:prstGeom>
        </p:spPr>
        <p:txBody>
          <a:bodyPr lIns="457200" tIns="91440" rIns="146304" bIns="91440">
            <a:noAutofit/>
          </a:bodyPr>
          <a:lstStyle>
            <a:lvl1pPr marL="0" indent="0" algn="l" defTabSz="914367" rtl="0" eaLnBrk="1" latinLnBrk="0" hangingPunct="1">
              <a:lnSpc>
                <a:spcPct val="90000"/>
              </a:lnSpc>
              <a:spcBef>
                <a:spcPct val="0"/>
              </a:spcBef>
              <a:spcAft>
                <a:spcPts val="2353"/>
              </a:spcAft>
              <a:buFontTx/>
              <a:buNone/>
              <a:defRPr lang="en-US" sz="4705" b="0" kern="1200" cap="none" spc="-100"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dirty="0"/>
              <a:t>Click to edit Master text</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779081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58295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18567824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902886C-5595-4DEA-926C-27AD71ED8B13}" type="datetimeFigureOut">
              <a:rPr lang="en-US" smtClean="0"/>
              <a:t>8/28/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2372034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5296096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422795144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060237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018699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406029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654501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575067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514744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857603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410801730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902886C-5595-4DEA-926C-27AD71ED8B13}" type="datetimeFigureOut">
              <a:rPr lang="en-US" smtClean="0"/>
              <a:t>8/28/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8978256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419330522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669626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881199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2345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92858483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8848780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111487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3225060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30106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7030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902886C-5595-4DEA-926C-27AD71ED8B13}" type="datetimeFigureOut">
              <a:rPr lang="en-US" smtClean="0"/>
              <a:t>8/28/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111102113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430760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27855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4225"/>
            <a:fld id="{FCBA4302-AB3A-4B30-AA1E-4FC776169C46}" type="datetimeFigureOut">
              <a:rPr lang="en-US" smtClean="0">
                <a:solidFill>
                  <a:srgbClr val="FFFFFF"/>
                </a:solidFill>
              </a:rPr>
              <a:pPr defTabSz="914225"/>
              <a:t>8/28/17</a:t>
            </a:fld>
            <a:endParaRPr lang="en-US" dirty="0">
              <a:solidFill>
                <a:srgbClr val="FFFFFF"/>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4225"/>
            <a:endParaRPr lang="en-US" dirty="0">
              <a:solidFill>
                <a:srgbClr val="FFFFFF"/>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225"/>
            <a:fld id="{238D2EFD-9BE3-4DA5-8511-61AA80F92140}"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5997314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415279" y="1324185"/>
            <a:ext cx="4273106" cy="4853157"/>
          </a:xfrm>
        </p:spPr>
        <p:txBody>
          <a:bodyPr wrap="square">
            <a:normAutofit/>
          </a:bodyPr>
          <a:lstStyle>
            <a:lvl1pPr marL="0" indent="0">
              <a:lnSpc>
                <a:spcPct val="100000"/>
              </a:lnSpc>
              <a:spcBef>
                <a:spcPts val="1176"/>
              </a:spcBef>
              <a:spcAft>
                <a:spcPts val="1176"/>
              </a:spcAft>
              <a:buClr>
                <a:schemeClr val="tx1"/>
              </a:buClr>
              <a:buFont typeface="Wingdings" pitchFamily="2" charset="2"/>
              <a:buNone/>
              <a:defRPr sz="2353">
                <a:solidFill>
                  <a:schemeClr val="accent1"/>
                </a:solidFill>
              </a:defRPr>
            </a:lvl1pPr>
            <a:lvl2pPr marL="0" indent="0">
              <a:lnSpc>
                <a:spcPct val="100000"/>
              </a:lnSpc>
              <a:spcAft>
                <a:spcPts val="1176"/>
              </a:spcAft>
              <a:buNone/>
              <a:defRPr sz="1922">
                <a:solidFill>
                  <a:schemeClr val="tx1"/>
                </a:solidFill>
              </a:defRPr>
            </a:lvl2pPr>
            <a:lvl3pPr marL="222733" indent="0">
              <a:lnSpc>
                <a:spcPct val="100000"/>
              </a:lnSpc>
              <a:spcAft>
                <a:spcPts val="1176"/>
              </a:spcAft>
              <a:buNone/>
              <a:tabLst/>
              <a:defRPr sz="1922">
                <a:solidFill>
                  <a:schemeClr val="tx1"/>
                </a:solidFill>
              </a:defRPr>
            </a:lvl3pPr>
            <a:lvl4pPr marL="442415" indent="0">
              <a:buNone/>
              <a:defRPr/>
            </a:lvl4pPr>
            <a:lvl5pPr marL="659046"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177" y="6512639"/>
            <a:ext cx="12192313" cy="353950"/>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9533268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177" y="6514984"/>
            <a:ext cx="12192313" cy="353924"/>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grpSp>
      <p:sp>
        <p:nvSpPr>
          <p:cNvPr id="16" name="Text Placeholder 2"/>
          <p:cNvSpPr>
            <a:spLocks noGrp="1"/>
          </p:cNvSpPr>
          <p:nvPr>
            <p:ph type="body" sz="quarter" idx="13"/>
          </p:nvPr>
        </p:nvSpPr>
        <p:spPr>
          <a:xfrm>
            <a:off x="7415737" y="1324594"/>
            <a:ext cx="4508581" cy="3503780"/>
          </a:xfrm>
        </p:spPr>
        <p:txBody>
          <a:bodyPr/>
          <a:lstStyle>
            <a:lvl1pPr marL="0" indent="0">
              <a:lnSpc>
                <a:spcPct val="100000"/>
              </a:lnSpc>
              <a:spcBef>
                <a:spcPts val="1961"/>
              </a:spcBef>
              <a:buFontTx/>
              <a:buNone/>
              <a:defRPr sz="3137">
                <a:solidFill>
                  <a:srgbClr val="C00000"/>
                </a:solidFill>
              </a:defRPr>
            </a:lvl1pPr>
            <a:lvl2pPr marL="336145" indent="0">
              <a:lnSpc>
                <a:spcPct val="100000"/>
              </a:lnSpc>
              <a:spcBef>
                <a:spcPts val="1961"/>
              </a:spcBef>
              <a:buFontTx/>
              <a:buNone/>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93683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869517" y="6551613"/>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3865173" rtl="0" eaLnBrk="1" fontAlgn="base" hangingPunct="1">
              <a:spcBef>
                <a:spcPct val="0"/>
              </a:spcBef>
              <a:spcAft>
                <a:spcPct val="0"/>
              </a:spcAft>
              <a:defRPr lang="en-US" sz="2800"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69243" y="1189178"/>
            <a:ext cx="11653521" cy="1473702"/>
          </a:xfrm>
          <a:prstGeom prst="rect">
            <a:avLst/>
          </a:prstGeom>
        </p:spPr>
        <p:txBody>
          <a:bodyPr rtlCol="0"/>
          <a:lstStyle>
            <a:lvl1pPr>
              <a:buClrTx/>
              <a:buFont typeface="Wingdings" pitchFamily="2" charset="2"/>
              <a:buChar char="§"/>
              <a:defRPr sz="2000" b="1">
                <a:latin typeface="Calibri" pitchFamily="34" charset="0"/>
              </a:defRPr>
            </a:lvl1pPr>
            <a:lvl2pPr>
              <a:buClrTx/>
              <a:buFont typeface="Wingdings" pitchFamily="2" charset="2"/>
              <a:buChar char="o"/>
              <a:defRPr sz="1800" b="0">
                <a:latin typeface="Calibri Light" pitchFamily="34" charset="0"/>
              </a:defRPr>
            </a:lvl2pPr>
            <a:lvl3pPr>
              <a:buClrTx/>
              <a:buFont typeface="Wingdings" pitchFamily="2" charset="2"/>
              <a:buChar char="o"/>
              <a:defRPr sz="1600" b="0">
                <a:latin typeface="Calibri Light" pitchFamily="34" charset="0"/>
              </a:defRPr>
            </a:lvl3pPr>
            <a:lvl4pPr>
              <a:buClrTx/>
              <a:buFont typeface="Wingdings" pitchFamily="2" charset="2"/>
              <a:buChar char="o"/>
              <a:defRPr sz="1400" b="0">
                <a:latin typeface="Calibri Light" pitchFamily="34" charset="0"/>
              </a:defRPr>
            </a:lvl4pPr>
            <a:lvl5pPr>
              <a:buClrTx/>
              <a:buFont typeface="Wingdings" pitchFamily="2" charset="2"/>
              <a:buChar char="o"/>
              <a:defRPr sz="1200"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6748338"/>
      </p:ext>
    </p:extLst>
  </p:cSld>
  <p:clrMapOvr>
    <a:masterClrMapping/>
  </p:clrMapOvr>
  <p:transition>
    <p:fade/>
  </p:transition>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897410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3" baseline="0"/>
            </a:lvl1pPr>
          </a:lstStyle>
          <a:p>
            <a:r>
              <a:rPr lang="en-US"/>
              <a:t>Click to edit Master title style</a:t>
            </a:r>
            <a:endParaRPr lang="en-US" dirty="0"/>
          </a:p>
        </p:txBody>
      </p:sp>
    </p:spTree>
    <p:extLst>
      <p:ext uri="{BB962C8B-B14F-4D97-AF65-F5344CB8AC3E}">
        <p14:creationId xmlns:p14="http://schemas.microsoft.com/office/powerpoint/2010/main" val="2432309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869517" y="6551613"/>
            <a:ext cx="3674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15834557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2322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902886C-5595-4DEA-926C-27AD71ED8B13}" type="datetimeFigureOut">
              <a:rPr lang="en-US" smtClean="0"/>
              <a:t>8/28/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8690088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101751037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9"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1055663"/>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8880780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2"/>
            <a:ext cx="12206629" cy="6858623"/>
          </a:xfrm>
          <a:prstGeom prst="rect">
            <a:avLst/>
          </a:prstGeom>
        </p:spPr>
      </p:pic>
    </p:spTree>
    <p:extLst>
      <p:ext uri="{BB962C8B-B14F-4D97-AF65-F5344CB8AC3E}">
        <p14:creationId xmlns:p14="http://schemas.microsoft.com/office/powerpoint/2010/main" val="3462486883"/>
      </p:ext>
    </p:extLst>
  </p:cSld>
  <p:clrMapOvr>
    <a:masterClrMapping/>
  </p:clrMapOvr>
  <p:transition spd="med">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279456"/>
            <a:ext cx="10816237" cy="563458"/>
          </a:xfrm>
          <a:prstGeom prst="rect">
            <a:avLst/>
          </a:prstGeom>
        </p:spPr>
        <p:txBody>
          <a:bodyPr lIns="192024"/>
          <a:lstStyle>
            <a:lvl1pPr marL="0" indent="0">
              <a:buNone/>
              <a:defRPr lang="en-US" sz="2353"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330"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37638306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19337820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4" name="Rectangle 3"/>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682572027"/>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8263615"/>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5"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213788" cy="6858623"/>
          </a:xfrm>
          <a:prstGeom prst="rect">
            <a:avLst/>
          </a:prstGeom>
        </p:spPr>
      </p:pic>
    </p:spTree>
    <p:extLst>
      <p:ext uri="{BB962C8B-B14F-4D97-AF65-F5344CB8AC3E}">
        <p14:creationId xmlns:p14="http://schemas.microsoft.com/office/powerpoint/2010/main" val="2001798328"/>
      </p:ext>
    </p:extLst>
  </p:cSld>
  <p:clrMapOvr>
    <a:masterClrMapping/>
  </p:clrMapOvr>
  <p:transition spd="med">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032147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0592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902886C-5595-4DEA-926C-27AD71ED8B13}" type="datetimeFigureOut">
              <a:rPr lang="en-US" smtClean="0"/>
              <a:t>8/28/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41193034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9"/>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90"/>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1365608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8">
                <a:gradFill>
                  <a:gsLst>
                    <a:gs pos="100000">
                      <a:schemeClr val="tx2"/>
                    </a:gs>
                    <a:gs pos="0">
                      <a:schemeClr val="tx2"/>
                    </a:gs>
                  </a:gsLst>
                  <a:lin ang="5400000" scaled="0"/>
                </a:gradFill>
                <a:latin typeface="+mj-lt"/>
              </a:defRPr>
            </a:lvl1pPr>
            <a:lvl2pPr marL="0" indent="0">
              <a:buNone/>
              <a:defRPr sz="1961"/>
            </a:lvl2pPr>
            <a:lvl3pPr marL="233319" indent="0">
              <a:buNone/>
              <a:defRPr sz="1961"/>
            </a:lvl3pPr>
            <a:lvl4pPr marL="457114" indent="0">
              <a:buNone/>
              <a:defRPr sz="1961"/>
            </a:lvl4pPr>
            <a:lvl5pPr marL="693607"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8"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1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28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258"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6786" y="6593600"/>
            <a:ext cx="3858429" cy="16575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7"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0041448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5659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2"/>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75955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5" y="1447804"/>
            <a:ext cx="11155093" cy="2089751"/>
          </a:xfrm>
        </p:spPr>
        <p:txBody>
          <a:bodyPr/>
          <a:lstStyle>
            <a:lvl1pPr marL="0" indent="0">
              <a:buNone/>
              <a:defRPr sz="3234">
                <a:gradFill>
                  <a:gsLst>
                    <a:gs pos="1250">
                      <a:srgbClr val="000000"/>
                    </a:gs>
                    <a:gs pos="100000">
                      <a:srgbClr val="000000"/>
                    </a:gs>
                  </a:gsLst>
                  <a:lin ang="5400000" scaled="0"/>
                </a:gradFill>
                <a:latin typeface="Consolas" pitchFamily="49" charset="0"/>
                <a:cs typeface="Consolas" pitchFamily="49" charset="0"/>
              </a:defRPr>
            </a:lvl1pPr>
            <a:lvl2pPr marL="339661"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9"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2"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94"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847694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902886C-5595-4DEA-926C-27AD71ED8B13}" type="datetimeFigureOut">
              <a:rPr lang="en-US" smtClean="0"/>
              <a:t>8/28/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678452620"/>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20" Type="http://schemas.openxmlformats.org/officeDocument/2006/relationships/slideLayout" Target="../slideLayouts/slideLayout31.xml"/><Relationship Id="rId21" Type="http://schemas.openxmlformats.org/officeDocument/2006/relationships/slideLayout" Target="../slideLayouts/slideLayout32.xml"/><Relationship Id="rId22" Type="http://schemas.openxmlformats.org/officeDocument/2006/relationships/slideLayout" Target="../slideLayouts/slideLayout33.xml"/><Relationship Id="rId23" Type="http://schemas.openxmlformats.org/officeDocument/2006/relationships/slideLayout" Target="../slideLayouts/slideLayout34.xml"/><Relationship Id="rId24" Type="http://schemas.openxmlformats.org/officeDocument/2006/relationships/slideLayout" Target="../slideLayouts/slideLayout35.xml"/><Relationship Id="rId25" Type="http://schemas.openxmlformats.org/officeDocument/2006/relationships/slideLayout" Target="../slideLayouts/slideLayout36.xml"/><Relationship Id="rId26" Type="http://schemas.openxmlformats.org/officeDocument/2006/relationships/slideLayout" Target="../slideLayouts/slideLayout37.xml"/><Relationship Id="rId27" Type="http://schemas.openxmlformats.org/officeDocument/2006/relationships/slideLayout" Target="../slideLayouts/slideLayout38.xml"/><Relationship Id="rId28" Type="http://schemas.openxmlformats.org/officeDocument/2006/relationships/slideLayout" Target="../slideLayouts/slideLayout39.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30" Type="http://schemas.openxmlformats.org/officeDocument/2006/relationships/slideLayout" Target="../slideLayouts/slideLayout41.xml"/><Relationship Id="rId31" Type="http://schemas.openxmlformats.org/officeDocument/2006/relationships/slideLayout" Target="../slideLayouts/slideLayout42.xml"/><Relationship Id="rId32" Type="http://schemas.openxmlformats.org/officeDocument/2006/relationships/theme" Target="../theme/theme2.xml"/><Relationship Id="rId9" Type="http://schemas.openxmlformats.org/officeDocument/2006/relationships/slideLayout" Target="../slideLayouts/slideLayout20.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33" Type="http://schemas.openxmlformats.org/officeDocument/2006/relationships/image" Target="../media/image1.png"/><Relationship Id="rId10" Type="http://schemas.openxmlformats.org/officeDocument/2006/relationships/slideLayout" Target="../slideLayouts/slideLayout21.xml"/><Relationship Id="rId11" Type="http://schemas.openxmlformats.org/officeDocument/2006/relationships/slideLayout" Target="../slideLayouts/slideLayout22.xml"/><Relationship Id="rId12" Type="http://schemas.openxmlformats.org/officeDocument/2006/relationships/slideLayout" Target="../slideLayouts/slideLayout23.xml"/><Relationship Id="rId13" Type="http://schemas.openxmlformats.org/officeDocument/2006/relationships/slideLayout" Target="../slideLayouts/slideLayout24.xml"/><Relationship Id="rId14" Type="http://schemas.openxmlformats.org/officeDocument/2006/relationships/slideLayout" Target="../slideLayouts/slideLayout25.xml"/><Relationship Id="rId15" Type="http://schemas.openxmlformats.org/officeDocument/2006/relationships/slideLayout" Target="../slideLayouts/slideLayout26.xml"/><Relationship Id="rId16" Type="http://schemas.openxmlformats.org/officeDocument/2006/relationships/slideLayout" Target="../slideLayouts/slideLayout27.xml"/><Relationship Id="rId17" Type="http://schemas.openxmlformats.org/officeDocument/2006/relationships/slideLayout" Target="../slideLayouts/slideLayout28.xml"/><Relationship Id="rId18" Type="http://schemas.openxmlformats.org/officeDocument/2006/relationships/slideLayout" Target="../slideLayouts/slideLayout29.xml"/><Relationship Id="rId1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51.xml"/><Relationship Id="rId20" Type="http://schemas.openxmlformats.org/officeDocument/2006/relationships/slideLayout" Target="../slideLayouts/slideLayout62.xml"/><Relationship Id="rId21" Type="http://schemas.openxmlformats.org/officeDocument/2006/relationships/slideLayout" Target="../slideLayouts/slideLayout63.xml"/><Relationship Id="rId22" Type="http://schemas.openxmlformats.org/officeDocument/2006/relationships/slideLayout" Target="../slideLayouts/slideLayout64.xml"/><Relationship Id="rId23" Type="http://schemas.openxmlformats.org/officeDocument/2006/relationships/slideLayout" Target="../slideLayouts/slideLayout65.xml"/><Relationship Id="rId24" Type="http://schemas.openxmlformats.org/officeDocument/2006/relationships/slideLayout" Target="../slideLayouts/slideLayout66.xml"/><Relationship Id="rId25" Type="http://schemas.openxmlformats.org/officeDocument/2006/relationships/slideLayout" Target="../slideLayouts/slideLayout67.xml"/><Relationship Id="rId26" Type="http://schemas.openxmlformats.org/officeDocument/2006/relationships/slideLayout" Target="../slideLayouts/slideLayout68.xml"/><Relationship Id="rId27" Type="http://schemas.openxmlformats.org/officeDocument/2006/relationships/slideLayout" Target="../slideLayouts/slideLayout69.xml"/><Relationship Id="rId28" Type="http://schemas.openxmlformats.org/officeDocument/2006/relationships/slideLayout" Target="../slideLayouts/slideLayout70.xml"/><Relationship Id="rId29" Type="http://schemas.openxmlformats.org/officeDocument/2006/relationships/theme" Target="../theme/theme3.xml"/><Relationship Id="rId10" Type="http://schemas.openxmlformats.org/officeDocument/2006/relationships/slideLayout" Target="../slideLayouts/slideLayout52.xml"/><Relationship Id="rId11" Type="http://schemas.openxmlformats.org/officeDocument/2006/relationships/slideLayout" Target="../slideLayouts/slideLayout53.xml"/><Relationship Id="rId12" Type="http://schemas.openxmlformats.org/officeDocument/2006/relationships/slideLayout" Target="../slideLayouts/slideLayout54.xml"/><Relationship Id="rId13" Type="http://schemas.openxmlformats.org/officeDocument/2006/relationships/slideLayout" Target="../slideLayouts/slideLayout55.xml"/><Relationship Id="rId14" Type="http://schemas.openxmlformats.org/officeDocument/2006/relationships/slideLayout" Target="../slideLayouts/slideLayout56.xml"/><Relationship Id="rId15" Type="http://schemas.openxmlformats.org/officeDocument/2006/relationships/slideLayout" Target="../slideLayouts/slideLayout57.xml"/><Relationship Id="rId16" Type="http://schemas.openxmlformats.org/officeDocument/2006/relationships/slideLayout" Target="../slideLayouts/slideLayout58.xml"/><Relationship Id="rId17" Type="http://schemas.openxmlformats.org/officeDocument/2006/relationships/slideLayout" Target="../slideLayouts/slideLayout59.xml"/><Relationship Id="rId18" Type="http://schemas.openxmlformats.org/officeDocument/2006/relationships/slideLayout" Target="../slideLayouts/slideLayout60.xml"/><Relationship Id="rId19" Type="http://schemas.openxmlformats.org/officeDocument/2006/relationships/slideLayout" Target="../slideLayouts/slideLayout61.xml"/><Relationship Id="rId1" Type="http://schemas.openxmlformats.org/officeDocument/2006/relationships/slideLayout" Target="../slideLayouts/slideLayout43.xml"/><Relationship Id="rId2" Type="http://schemas.openxmlformats.org/officeDocument/2006/relationships/slideLayout" Target="../slideLayouts/slideLayout44.xml"/><Relationship Id="rId3" Type="http://schemas.openxmlformats.org/officeDocument/2006/relationships/slideLayout" Target="../slideLayouts/slideLayout45.xml"/><Relationship Id="rId4" Type="http://schemas.openxmlformats.org/officeDocument/2006/relationships/slideLayout" Target="../slideLayouts/slideLayout46.xml"/><Relationship Id="rId5" Type="http://schemas.openxmlformats.org/officeDocument/2006/relationships/slideLayout" Target="../slideLayouts/slideLayout47.xml"/><Relationship Id="rId6" Type="http://schemas.openxmlformats.org/officeDocument/2006/relationships/slideLayout" Target="../slideLayouts/slideLayout48.xml"/><Relationship Id="rId7" Type="http://schemas.openxmlformats.org/officeDocument/2006/relationships/slideLayout" Target="../slideLayouts/slideLayout49.xml"/><Relationship Id="rId8"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79.xml"/><Relationship Id="rId20" Type="http://schemas.openxmlformats.org/officeDocument/2006/relationships/image" Target="../media/image9.png"/><Relationship Id="rId10" Type="http://schemas.openxmlformats.org/officeDocument/2006/relationships/slideLayout" Target="../slideLayouts/slideLayout80.xml"/><Relationship Id="rId11" Type="http://schemas.openxmlformats.org/officeDocument/2006/relationships/slideLayout" Target="../slideLayouts/slideLayout81.xml"/><Relationship Id="rId12" Type="http://schemas.openxmlformats.org/officeDocument/2006/relationships/slideLayout" Target="../slideLayouts/slideLayout82.xml"/><Relationship Id="rId13" Type="http://schemas.openxmlformats.org/officeDocument/2006/relationships/slideLayout" Target="../slideLayouts/slideLayout83.xml"/><Relationship Id="rId14" Type="http://schemas.openxmlformats.org/officeDocument/2006/relationships/slideLayout" Target="../slideLayouts/slideLayout84.xml"/><Relationship Id="rId15" Type="http://schemas.openxmlformats.org/officeDocument/2006/relationships/theme" Target="../theme/theme4.xml"/><Relationship Id="rId16" Type="http://schemas.openxmlformats.org/officeDocument/2006/relationships/vmlDrawing" Target="../drawings/vmlDrawing1.vml"/><Relationship Id="rId17" Type="http://schemas.openxmlformats.org/officeDocument/2006/relationships/tags" Target="../tags/tag1.xml"/><Relationship Id="rId18" Type="http://schemas.openxmlformats.org/officeDocument/2006/relationships/oleObject" Target="../embeddings/oleObject1.bin"/><Relationship Id="rId19" Type="http://schemas.openxmlformats.org/officeDocument/2006/relationships/image" Target="../media/image8.emf"/><Relationship Id="rId1" Type="http://schemas.openxmlformats.org/officeDocument/2006/relationships/slideLayout" Target="../slideLayouts/slideLayout71.xml"/><Relationship Id="rId2" Type="http://schemas.openxmlformats.org/officeDocument/2006/relationships/slideLayout" Target="../slideLayouts/slideLayout72.xml"/><Relationship Id="rId3" Type="http://schemas.openxmlformats.org/officeDocument/2006/relationships/slideLayout" Target="../slideLayouts/slideLayout73.xml"/><Relationship Id="rId4" Type="http://schemas.openxmlformats.org/officeDocument/2006/relationships/slideLayout" Target="../slideLayouts/slideLayout74.xml"/><Relationship Id="rId5" Type="http://schemas.openxmlformats.org/officeDocument/2006/relationships/slideLayout" Target="../slideLayouts/slideLayout75.xml"/><Relationship Id="rId6" Type="http://schemas.openxmlformats.org/officeDocument/2006/relationships/slideLayout" Target="../slideLayouts/slideLayout76.xml"/><Relationship Id="rId7" Type="http://schemas.openxmlformats.org/officeDocument/2006/relationships/slideLayout" Target="../slideLayouts/slideLayout77.xml"/><Relationship Id="rId8"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02886C-5595-4DEA-926C-27AD71ED8B13}" type="datetimeFigureOut">
              <a:rPr lang="en-US" smtClean="0"/>
              <a:t>8/28/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7BFACD5-9445-4AFF-8E03-8730301F7374}" type="slidenum">
              <a:rPr lang="en-US" smtClean="0"/>
              <a:t>‹#›</a:t>
            </a:fld>
            <a:endParaRPr lang="en-US"/>
          </a:p>
        </p:txBody>
      </p:sp>
    </p:spTree>
    <p:extLst>
      <p:ext uri="{BB962C8B-B14F-4D97-AF65-F5344CB8AC3E}">
        <p14:creationId xmlns:p14="http://schemas.microsoft.com/office/powerpoint/2010/main" val="206300625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0"/>
            <a:ext cx="11653520" cy="205253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373670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9" r:id="rId28"/>
    <p:sldLayoutId id="2147483690" r:id="rId29"/>
    <p:sldLayoutId id="2147483691" r:id="rId30"/>
    <p:sldLayoutId id="2147483692" r:id="rId31"/>
  </p:sldLayoutIdLst>
  <p:transition>
    <p:fade/>
  </p:transition>
  <p:hf sldNum="0" hdr="0" dt="0"/>
  <p:txStyles>
    <p:titleStyle>
      <a:lvl1pPr algn="l" defTabSz="914516"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99" marR="0" indent="-336199" algn="l" defTabSz="914516"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84" marR="0" indent="-236586" algn="l" defTabSz="914516" rtl="0" eaLnBrk="1" fontAlgn="auto" latinLnBrk="0" hangingPunct="1">
        <a:lnSpc>
          <a:spcPct val="90000"/>
        </a:lnSpc>
        <a:spcBef>
          <a:spcPct val="20000"/>
        </a:spcBef>
        <a:spcAft>
          <a:spcPts val="0"/>
        </a:spcAft>
        <a:buClrTx/>
        <a:buSzPct val="90000"/>
        <a:buFont typeface="Arial" pitchFamily="34" charset="0"/>
        <a:buChar char="•"/>
        <a:tabLst/>
        <a:defRPr sz="2354" kern="1200" spc="0" baseline="0">
          <a:gradFill>
            <a:gsLst>
              <a:gs pos="1250">
                <a:schemeClr val="tx1"/>
              </a:gs>
              <a:gs pos="100000">
                <a:schemeClr val="tx1"/>
              </a:gs>
            </a:gsLst>
            <a:lin ang="5400000" scaled="0"/>
          </a:gradFill>
          <a:latin typeface="+mn-lt"/>
          <a:ea typeface="+mn-ea"/>
          <a:cs typeface="+mn-cs"/>
        </a:defRPr>
      </a:lvl2pPr>
      <a:lvl3pPr marL="784466"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962" kern="1200" spc="0" baseline="0">
          <a:gradFill>
            <a:gsLst>
              <a:gs pos="1250">
                <a:schemeClr val="tx1"/>
              </a:gs>
              <a:gs pos="100000">
                <a:schemeClr val="tx1"/>
              </a:gs>
            </a:gsLst>
            <a:lin ang="5400000" scaled="0"/>
          </a:gradFill>
          <a:latin typeface="+mn-lt"/>
          <a:ea typeface="+mn-ea"/>
          <a:cs typeface="+mn-cs"/>
        </a:defRPr>
      </a:lvl3pPr>
      <a:lvl4pPr marL="1008599"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732"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919"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6pPr>
      <a:lvl7pPr marL="2972177"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7pPr>
      <a:lvl8pPr marL="342943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8pPr>
      <a:lvl9pPr marL="388669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9pPr>
    </p:bodyStyle>
    <p:otherStyle>
      <a:defPPr>
        <a:defRPr lang="en-US"/>
      </a:defPPr>
      <a:lvl1pPr marL="0" algn="l" defTabSz="914516" rtl="0" eaLnBrk="1" latinLnBrk="0" hangingPunct="1">
        <a:defRPr sz="1766" kern="1200">
          <a:solidFill>
            <a:schemeClr val="tx1"/>
          </a:solidFill>
          <a:latin typeface="+mn-lt"/>
          <a:ea typeface="+mn-ea"/>
          <a:cs typeface="+mn-cs"/>
        </a:defRPr>
      </a:lvl1pPr>
      <a:lvl2pPr marL="457259" algn="l" defTabSz="914516" rtl="0" eaLnBrk="1" latinLnBrk="0" hangingPunct="1">
        <a:defRPr sz="1766" kern="1200">
          <a:solidFill>
            <a:schemeClr val="tx1"/>
          </a:solidFill>
          <a:latin typeface="+mn-lt"/>
          <a:ea typeface="+mn-ea"/>
          <a:cs typeface="+mn-cs"/>
        </a:defRPr>
      </a:lvl2pPr>
      <a:lvl3pPr marL="914516" algn="l" defTabSz="914516" rtl="0" eaLnBrk="1" latinLnBrk="0" hangingPunct="1">
        <a:defRPr sz="1766" kern="1200">
          <a:solidFill>
            <a:schemeClr val="tx1"/>
          </a:solidFill>
          <a:latin typeface="+mn-lt"/>
          <a:ea typeface="+mn-ea"/>
          <a:cs typeface="+mn-cs"/>
        </a:defRPr>
      </a:lvl3pPr>
      <a:lvl4pPr marL="1371775" algn="l" defTabSz="914516" rtl="0" eaLnBrk="1" latinLnBrk="0" hangingPunct="1">
        <a:defRPr sz="1766" kern="1200">
          <a:solidFill>
            <a:schemeClr val="tx1"/>
          </a:solidFill>
          <a:latin typeface="+mn-lt"/>
          <a:ea typeface="+mn-ea"/>
          <a:cs typeface="+mn-cs"/>
        </a:defRPr>
      </a:lvl4pPr>
      <a:lvl5pPr marL="1829032" algn="l" defTabSz="914516" rtl="0" eaLnBrk="1" latinLnBrk="0" hangingPunct="1">
        <a:defRPr sz="1766" kern="1200">
          <a:solidFill>
            <a:schemeClr val="tx1"/>
          </a:solidFill>
          <a:latin typeface="+mn-lt"/>
          <a:ea typeface="+mn-ea"/>
          <a:cs typeface="+mn-cs"/>
        </a:defRPr>
      </a:lvl5pPr>
      <a:lvl6pPr marL="2286292" algn="l" defTabSz="914516" rtl="0" eaLnBrk="1" latinLnBrk="0" hangingPunct="1">
        <a:defRPr sz="1766" kern="1200">
          <a:solidFill>
            <a:schemeClr val="tx1"/>
          </a:solidFill>
          <a:latin typeface="+mn-lt"/>
          <a:ea typeface="+mn-ea"/>
          <a:cs typeface="+mn-cs"/>
        </a:defRPr>
      </a:lvl6pPr>
      <a:lvl7pPr marL="2743549" algn="l" defTabSz="914516" rtl="0" eaLnBrk="1" latinLnBrk="0" hangingPunct="1">
        <a:defRPr sz="1766" kern="1200">
          <a:solidFill>
            <a:schemeClr val="tx1"/>
          </a:solidFill>
          <a:latin typeface="+mn-lt"/>
          <a:ea typeface="+mn-ea"/>
          <a:cs typeface="+mn-cs"/>
        </a:defRPr>
      </a:lvl7pPr>
      <a:lvl8pPr marL="3200807" algn="l" defTabSz="914516" rtl="0" eaLnBrk="1" latinLnBrk="0" hangingPunct="1">
        <a:defRPr sz="1766" kern="1200">
          <a:solidFill>
            <a:schemeClr val="tx1"/>
          </a:solidFill>
          <a:latin typeface="+mn-lt"/>
          <a:ea typeface="+mn-ea"/>
          <a:cs typeface="+mn-cs"/>
        </a:defRPr>
      </a:lvl8pPr>
      <a:lvl9pPr marL="3658067" algn="l" defTabSz="914516"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1913247"/>
      </p:ext>
    </p:extLst>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5" name="think-cell Slide" r:id="rId18" imgW="377" imgH="377" progId="TCLayout.ActiveDocument.1">
                  <p:embed/>
                </p:oleObj>
              </mc:Choice>
              <mc:Fallback>
                <p:oleObj name="think-cell Slide" r:id="rId18" imgW="377" imgH="377" progId="TCLayout.ActiveDocument.1">
                  <p:embed/>
                  <p:pic>
                    <p:nvPicPr>
                      <p:cNvPr id="4" name="Object 3" hidden="1"/>
                      <p:cNvPicPr/>
                      <p:nvPr/>
                    </p:nvPicPr>
                    <p:blipFill>
                      <a:blip r:embed="rId19"/>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40" y="1279456"/>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1353174452"/>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2" r:id="rId9"/>
    <p:sldLayoutId id="2147483734" r:id="rId10"/>
    <p:sldLayoutId id="2147483735" r:id="rId11"/>
    <p:sldLayoutId id="2147483736" r:id="rId12"/>
    <p:sldLayoutId id="2147483737" r:id="rId13"/>
    <p:sldLayoutId id="2147483738" r:id="rId14"/>
  </p:sldLayoutIdLst>
  <p:transition>
    <p:fade/>
  </p:transition>
  <p:hf hdr="0" ftr="0" dt="0"/>
  <p:txStyles>
    <p:titleStyle>
      <a:lvl1pPr algn="l" defTabSz="913330" rtl="0" eaLnBrk="1" fontAlgn="base" hangingPunct="1">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1" fontAlgn="base" hangingPunct="1">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10.xml"/><Relationship Id="rId3" Type="http://schemas.openxmlformats.org/officeDocument/2006/relationships/image" Target="../media/image2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11.xml"/><Relationship Id="rId3" Type="http://schemas.openxmlformats.org/officeDocument/2006/relationships/image" Target="../media/image21.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12.xml"/><Relationship Id="rId3" Type="http://schemas.openxmlformats.org/officeDocument/2006/relationships/image" Target="../media/image2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13.xml"/><Relationship Id="rId3" Type="http://schemas.openxmlformats.org/officeDocument/2006/relationships/image" Target="../media/image21.png"/></Relationships>
</file>

<file path=ppt/slides/_rels/slide14.xml.rels><?xml version="1.0" encoding="UTF-8" standalone="yes"?>
<Relationships xmlns="http://schemas.openxmlformats.org/package/2006/relationships"><Relationship Id="rId9" Type="http://schemas.openxmlformats.org/officeDocument/2006/relationships/image" Target="../media/image28.png"/><Relationship Id="rId20" Type="http://schemas.openxmlformats.org/officeDocument/2006/relationships/image" Target="../media/image39.gif"/><Relationship Id="rId21" Type="http://schemas.openxmlformats.org/officeDocument/2006/relationships/image" Target="../media/image40.png"/><Relationship Id="rId22" Type="http://schemas.openxmlformats.org/officeDocument/2006/relationships/image" Target="../media/image41.png"/><Relationship Id="rId10" Type="http://schemas.openxmlformats.org/officeDocument/2006/relationships/image" Target="../media/image29.png"/><Relationship Id="rId11" Type="http://schemas.openxmlformats.org/officeDocument/2006/relationships/image" Target="../media/image30.png"/><Relationship Id="rId12" Type="http://schemas.openxmlformats.org/officeDocument/2006/relationships/image" Target="../media/image31.png"/><Relationship Id="rId13" Type="http://schemas.openxmlformats.org/officeDocument/2006/relationships/image" Target="../media/image32.png"/><Relationship Id="rId14" Type="http://schemas.openxmlformats.org/officeDocument/2006/relationships/image" Target="../media/image33.png"/><Relationship Id="rId15" Type="http://schemas.openxmlformats.org/officeDocument/2006/relationships/image" Target="../media/image34.png"/><Relationship Id="rId16" Type="http://schemas.openxmlformats.org/officeDocument/2006/relationships/image" Target="../media/image35.png"/><Relationship Id="rId17" Type="http://schemas.openxmlformats.org/officeDocument/2006/relationships/image" Target="../media/image36.png"/><Relationship Id="rId18" Type="http://schemas.openxmlformats.org/officeDocument/2006/relationships/image" Target="../media/image37.png"/><Relationship Id="rId19" Type="http://schemas.openxmlformats.org/officeDocument/2006/relationships/image" Target="../media/image38.png"/><Relationship Id="rId1" Type="http://schemas.openxmlformats.org/officeDocument/2006/relationships/slideLayout" Target="../slideLayouts/slideLayout75.xml"/><Relationship Id="rId2" Type="http://schemas.openxmlformats.org/officeDocument/2006/relationships/notesSlide" Target="../notesSlides/notesSlide14.xml"/><Relationship Id="rId3" Type="http://schemas.openxmlformats.org/officeDocument/2006/relationships/image" Target="../media/image22.png"/><Relationship Id="rId4" Type="http://schemas.openxmlformats.org/officeDocument/2006/relationships/image" Target="../media/image23.png"/><Relationship Id="rId5" Type="http://schemas.openxmlformats.org/officeDocument/2006/relationships/image" Target="../media/image24.png"/><Relationship Id="rId6" Type="http://schemas.openxmlformats.org/officeDocument/2006/relationships/image" Target="../media/image25.jpeg"/><Relationship Id="rId7" Type="http://schemas.openxmlformats.org/officeDocument/2006/relationships/image" Target="../media/image26.png"/><Relationship Id="rId8" Type="http://schemas.openxmlformats.org/officeDocument/2006/relationships/image" Target="../media/image2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15.xml"/><Relationship Id="rId3" Type="http://schemas.openxmlformats.org/officeDocument/2006/relationships/image" Target="../media/image2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18.xml"/><Relationship Id="rId3"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image" Target="../media/image42.jpg"/><Relationship Id="rId4" Type="http://schemas.openxmlformats.org/officeDocument/2006/relationships/image" Target="../media/image43.png"/><Relationship Id="rId5" Type="http://schemas.openxmlformats.org/officeDocument/2006/relationships/image" Target="../media/image21.png"/><Relationship Id="rId6" Type="http://schemas.openxmlformats.org/officeDocument/2006/relationships/image" Target="../media/image44.png"/><Relationship Id="rId1" Type="http://schemas.openxmlformats.org/officeDocument/2006/relationships/slideLayout" Target="../slideLayouts/slideLayout79.xml"/><Relationship Id="rId2"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image" Target="../media/image17.jpeg"/><Relationship Id="rId4" Type="http://schemas.openxmlformats.org/officeDocument/2006/relationships/image" Target="../media/image18.png"/><Relationship Id="rId1" Type="http://schemas.openxmlformats.org/officeDocument/2006/relationships/slideLayout" Target="../slideLayouts/slideLayout36.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hyperlink" Target="http://spark.apache.org/docs/latest/api/scala/index.html#org.apache.spark.package" TargetMode="External"/><Relationship Id="rId4" Type="http://schemas.openxmlformats.org/officeDocument/2006/relationships/hyperlink" Target="http://spark.apache.org/docs/latest/api/java/index.html" TargetMode="External"/><Relationship Id="rId5" Type="http://schemas.openxmlformats.org/officeDocument/2006/relationships/hyperlink" Target="http://spark.apache.org/docs/latest/api/python/index.html" TargetMode="External"/><Relationship Id="rId6" Type="http://schemas.openxmlformats.org/officeDocument/2006/relationships/hyperlink" Target="http://spark.apache.org/docs/latest/api/R/index.html" TargetMode="External"/><Relationship Id="rId7" Type="http://schemas.openxmlformats.org/officeDocument/2006/relationships/image" Target="../media/image45.png"/><Relationship Id="rId1" Type="http://schemas.openxmlformats.org/officeDocument/2006/relationships/slideLayout" Target="../slideLayouts/slideLayout79.xml"/><Relationship Id="rId2"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21.xml"/><Relationship Id="rId3" Type="http://schemas.openxmlformats.org/officeDocument/2006/relationships/image" Target="../media/image2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22.xml"/><Relationship Id="rId3" Type="http://schemas.openxmlformats.org/officeDocument/2006/relationships/image" Target="../media/image2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23.xml"/><Relationship Id="rId3" Type="http://schemas.openxmlformats.org/officeDocument/2006/relationships/image" Target="../media/image22.png"/></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46.png"/><Relationship Id="rId5" Type="http://schemas.openxmlformats.org/officeDocument/2006/relationships/image" Target="../media/image47.png"/><Relationship Id="rId1" Type="http://schemas.openxmlformats.org/officeDocument/2006/relationships/slideLayout" Target="../slideLayouts/slideLayout75.xml"/><Relationship Id="rId2"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25.xml"/><Relationship Id="rId3" Type="http://schemas.openxmlformats.org/officeDocument/2006/relationships/image" Target="../media/image22.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image" Target="../media/image4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0.xml"/><Relationship Id="rId2" Type="http://schemas.openxmlformats.org/officeDocument/2006/relationships/notesSlide" Target="../notesSlides/notesSlide3.xml"/><Relationship Id="rId3" Type="http://schemas.openxmlformats.org/officeDocument/2006/relationships/image" Target="../media/image19.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4.xml"/><Relationship Id="rId2" Type="http://schemas.openxmlformats.org/officeDocument/2006/relationships/image" Target="../media/image49.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image" Target="../media/image5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image" Target="../media/image51.png"/><Relationship Id="rId3" Type="http://schemas.openxmlformats.org/officeDocument/2006/relationships/image" Target="../media/image52.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notesSlide" Target="../notesSlides/notesSlide2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chart" Target="../charts/char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chart" Target="../charts/char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image" Target="../media/image53.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image" Target="../media/image5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image" Target="../media/image55.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2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3.xml"/></Relationships>
</file>

<file path=ppt/slides/_rels/slide5.xml.rels><?xml version="1.0" encoding="UTF-8" standalone="yes"?>
<Relationships xmlns="http://schemas.openxmlformats.org/package/2006/relationships"><Relationship Id="rId3" Type="http://schemas.openxmlformats.org/officeDocument/2006/relationships/image" Target="../media/image20.tiff"/><Relationship Id="rId4" Type="http://schemas.openxmlformats.org/officeDocument/2006/relationships/hyperlink" Target="https://databricks.com/blog/2016/08/31/apache-spark-scale-a-60-tb-production-use-case.html" TargetMode="External"/><Relationship Id="rId1" Type="http://schemas.openxmlformats.org/officeDocument/2006/relationships/slideLayout" Target="../slideLayouts/slideLayout79.xml"/><Relationship Id="rId2"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6.xml"/><Relationship Id="rId3" Type="http://schemas.openxmlformats.org/officeDocument/2006/relationships/image" Target="../media/image21.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9.xml"/><Relationship Id="rId3" Type="http://schemas.openxmlformats.org/officeDocument/2006/relationships/image" Target="../media/image56.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0.xml"/><Relationship Id="rId3" Type="http://schemas.openxmlformats.org/officeDocument/2006/relationships/image" Target="../media/image44.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3.xml"/></Relationships>
</file>

<file path=ppt/slides/_rels/slide6.xml.rels><?xml version="1.0" encoding="UTF-8" standalone="yes"?>
<Relationships xmlns="http://schemas.openxmlformats.org/package/2006/relationships"><Relationship Id="rId3" Type="http://schemas.openxmlformats.org/officeDocument/2006/relationships/hyperlink" Target="https://spark.apache.org/docs/latest/sql-programming-guide.html" TargetMode="External"/><Relationship Id="rId4" Type="http://schemas.openxmlformats.org/officeDocument/2006/relationships/hyperlink" Target="https://databricks.com/blog/2015/02/17/introducing-dataframes-in-spark-for-large-scale-data-science.html" TargetMode="External"/><Relationship Id="rId1" Type="http://schemas.openxmlformats.org/officeDocument/2006/relationships/slideLayout" Target="../slideLayouts/slideLayout79.xml"/><Relationship Id="rId2"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4.xml"/><Relationship Id="rId3" Type="http://schemas.openxmlformats.org/officeDocument/2006/relationships/image" Target="../media/image57.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5.xml"/><Relationship Id="rId3" Type="http://schemas.openxmlformats.org/officeDocument/2006/relationships/image" Target="../media/image44.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7.xml"/><Relationship Id="rId3" Type="http://schemas.openxmlformats.org/officeDocument/2006/relationships/image" Target="../media/image21.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8.xml"/><Relationship Id="rId3" Type="http://schemas.openxmlformats.org/officeDocument/2006/relationships/image" Target="../media/image44.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9.xml"/><Relationship Id="rId3" Type="http://schemas.openxmlformats.org/officeDocument/2006/relationships/image" Target="../media/image44.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5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7.xml"/><Relationship Id="rId3" Type="http://schemas.openxmlformats.org/officeDocument/2006/relationships/hyperlink" Target="https://databricks.com/blog/2014/03/26/spark-sql-manipulating-structured-data-using-spark-2.html"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5" dirty="0"/>
              <a:t>Spark on HDInsight</a:t>
            </a:r>
            <a:br>
              <a:rPr lang="en-US" sz="4705" dirty="0"/>
            </a:br>
            <a:r>
              <a:rPr lang="en-US" sz="4705" dirty="0">
                <a:solidFill>
                  <a:srgbClr val="FFCC00"/>
                </a:solidFill>
              </a:rPr>
              <a:t>Spark SQL</a:t>
            </a: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185277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e Less Code: Input &amp; Output</a:t>
            </a:r>
            <a:endParaRPr lang="en-US" dirty="0"/>
          </a:p>
        </p:txBody>
      </p:sp>
      <p:sp>
        <p:nvSpPr>
          <p:cNvPr id="3" name="Content Placeholder 2"/>
          <p:cNvSpPr>
            <a:spLocks noGrp="1"/>
          </p:cNvSpPr>
          <p:nvPr>
            <p:ph idx="4294967295"/>
          </p:nvPr>
        </p:nvSpPr>
        <p:spPr>
          <a:xfrm>
            <a:off x="2012172" y="1238489"/>
            <a:ext cx="7655187" cy="1264923"/>
          </a:xfrm>
          <a:prstGeom prst="rect">
            <a:avLst/>
          </a:prstGeom>
        </p:spPr>
        <p:txBody>
          <a:bodyPr/>
          <a:lstStyle/>
          <a:p>
            <a:pPr marL="0" indent="0">
              <a:buNone/>
            </a:pPr>
            <a:r>
              <a:rPr lang="en-US" dirty="0" smtClean="0"/>
              <a:t>Unified interface to reading/writing data in a variety of formats.</a:t>
            </a:r>
            <a:endParaRPr lang="en-US" dirty="0"/>
          </a:p>
        </p:txBody>
      </p:sp>
      <p:sp>
        <p:nvSpPr>
          <p:cNvPr id="6" name="Rectangle 4"/>
          <p:cNvSpPr/>
          <p:nvPr/>
        </p:nvSpPr>
        <p:spPr>
          <a:xfrm>
            <a:off x="1722814" y="2503412"/>
            <a:ext cx="8821361" cy="366878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7" name="Rectangle 6"/>
          <p:cNvSpPr/>
          <p:nvPr/>
        </p:nvSpPr>
        <p:spPr>
          <a:xfrm>
            <a:off x="1987290" y="2743200"/>
            <a:ext cx="8351923" cy="3200400"/>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b="1" dirty="0" err="1">
                <a:solidFill>
                  <a:srgbClr val="7F0055"/>
                </a:solidFill>
                <a:latin typeface="Consolas" charset="0"/>
                <a:ea typeface="Consolas" charset="0"/>
                <a:cs typeface="Consolas" charset="0"/>
              </a:rPr>
              <a:t>val</a:t>
            </a:r>
            <a:r>
              <a:rPr lang="en-US" b="1" dirty="0">
                <a:solidFill>
                  <a:srgbClr val="7F0055"/>
                </a:solidFill>
                <a:latin typeface="Consolas" charset="0"/>
                <a:ea typeface="Consolas" charset="0"/>
                <a:cs typeface="Consolas" charset="0"/>
              </a:rPr>
              <a:t> </a:t>
            </a:r>
            <a:r>
              <a:rPr lang="en-US" b="1" dirty="0" err="1">
                <a:solidFill>
                  <a:srgbClr val="000000"/>
                </a:solidFill>
                <a:latin typeface="Consolas" charset="0"/>
                <a:ea typeface="Consolas" charset="0"/>
                <a:cs typeface="Consolas" charset="0"/>
              </a:rPr>
              <a:t>df</a:t>
            </a:r>
            <a:r>
              <a:rPr lang="en-US" b="1" dirty="0">
                <a:solidFill>
                  <a:srgbClr val="000000"/>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 </a:t>
            </a:r>
            <a:r>
              <a:rPr lang="en-US" dirty="0" err="1">
                <a:solidFill>
                  <a:srgbClr val="000000"/>
                </a:solidFill>
                <a:latin typeface="Consolas" charset="0"/>
                <a:ea typeface="Consolas" charset="0"/>
                <a:cs typeface="Consolas" charset="0"/>
              </a:rPr>
              <a:t>sqlContext</a:t>
            </a:r>
            <a:r>
              <a:rPr lang="en-US" dirty="0">
                <a:solidFill>
                  <a:srgbClr val="000000"/>
                </a:solidFill>
                <a:latin typeface="Consolas" charset="0"/>
                <a:ea typeface="Consolas" charset="0"/>
                <a:cs typeface="Consolas" charset="0"/>
              </a:rPr>
              <a:t>.</a:t>
            </a:r>
            <a:br>
              <a:rPr lang="en-US" dirty="0">
                <a:solidFill>
                  <a:srgbClr val="000000"/>
                </a:solidFill>
                <a:latin typeface="Consolas" charset="0"/>
                <a:ea typeface="Consolas" charset="0"/>
                <a:cs typeface="Consolas" charset="0"/>
              </a:rPr>
            </a:br>
            <a:r>
              <a:rPr lang="en-US" dirty="0">
                <a:solidFill>
                  <a:srgbClr val="000000"/>
                </a:solidFill>
                <a:latin typeface="Consolas" charset="0"/>
                <a:ea typeface="Consolas" charset="0"/>
                <a:cs typeface="Consolas" charset="0"/>
              </a:rPr>
              <a:t>  read.</a:t>
            </a:r>
            <a:r>
              <a:rPr lang="cs-CZ" dirty="0">
                <a:latin typeface="Consolas" charset="0"/>
                <a:ea typeface="Consolas" charset="0"/>
                <a:cs typeface="Consolas" charset="0"/>
              </a:rPr>
              <a:t>              </a:t>
            </a:r>
            <a:br>
              <a:rPr lang="cs-CZ" dirty="0">
                <a:latin typeface="Consolas" charset="0"/>
                <a:ea typeface="Consolas" charset="0"/>
                <a:cs typeface="Consolas" charset="0"/>
              </a:rPr>
            </a:br>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format</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json</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option(</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samplingRatio</a:t>
            </a:r>
            <a:r>
              <a:rPr lang="en-US" dirty="0">
                <a:solidFill>
                  <a:srgbClr val="0000BB"/>
                </a:solidFill>
                <a:latin typeface="Consolas" charset="0"/>
                <a:ea typeface="Consolas" charset="0"/>
                <a:cs typeface="Consolas" charset="0"/>
              </a:rPr>
              <a:t>", "0.1"</a:t>
            </a:r>
            <a:r>
              <a:rPr lang="en-US"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load</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Users</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spark</a:t>
            </a:r>
            <a:r>
              <a:rPr lang="cs-CZ" dirty="0">
                <a:solidFill>
                  <a:srgbClr val="0000BB"/>
                </a:solidFill>
                <a:latin typeface="Consolas" charset="0"/>
                <a:ea typeface="Consolas" charset="0"/>
                <a:cs typeface="Consolas" charset="0"/>
              </a:rPr>
              <a:t>/data/</a:t>
            </a:r>
            <a:r>
              <a:rPr lang="cs-CZ" dirty="0" err="1">
                <a:solidFill>
                  <a:srgbClr val="0000BB"/>
                </a:solidFill>
                <a:latin typeface="Consolas" charset="0"/>
                <a:ea typeface="Consolas" charset="0"/>
                <a:cs typeface="Consolas" charset="0"/>
              </a:rPr>
              <a:t>stuff.json</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endParaRPr lang="cs-CZ" dirty="0">
              <a:latin typeface="Consolas" charset="0"/>
              <a:ea typeface="Consolas" charset="0"/>
              <a:cs typeface="Consolas" charset="0"/>
            </a:endParaRPr>
          </a:p>
          <a:p>
            <a:r>
              <a:rPr lang="cs-CZ" dirty="0" err="1">
                <a:solidFill>
                  <a:srgbClr val="000000"/>
                </a:solidFill>
                <a:latin typeface="Consolas" charset="0"/>
                <a:ea typeface="Consolas" charset="0"/>
                <a:cs typeface="Consolas" charset="0"/>
              </a:rPr>
              <a:t>df.write</a:t>
            </a:r>
            <a:r>
              <a:rPr lang="cs-CZ" dirty="0">
                <a:solidFill>
                  <a:srgbClr val="000000"/>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format</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parquet</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a:solidFill>
                  <a:srgbClr val="000000"/>
                </a:solidFill>
                <a:latin typeface="Consolas" charset="0"/>
                <a:ea typeface="Consolas" charset="0"/>
                <a:cs typeface="Consolas" charset="0"/>
              </a:rPr>
              <a:t>mode(</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append</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partitionBy</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year</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saveAsTable</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faster-stuff</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p:txBody>
      </p:sp>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06952" y="2771193"/>
            <a:ext cx="315382" cy="464575"/>
          </a:xfrm>
          <a:prstGeom prst="rect">
            <a:avLst/>
          </a:prstGeom>
        </p:spPr>
      </p:pic>
    </p:spTree>
    <p:extLst>
      <p:ext uri="{BB962C8B-B14F-4D97-AF65-F5344CB8AC3E}">
        <p14:creationId xmlns:p14="http://schemas.microsoft.com/office/powerpoint/2010/main" val="21782387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e Less Code: Input &amp; Output</a:t>
            </a:r>
            <a:endParaRPr lang="en-US" dirty="0"/>
          </a:p>
        </p:txBody>
      </p:sp>
      <p:sp>
        <p:nvSpPr>
          <p:cNvPr id="3" name="Content Placeholder 2"/>
          <p:cNvSpPr>
            <a:spLocks noGrp="1"/>
          </p:cNvSpPr>
          <p:nvPr>
            <p:ph idx="4294967295"/>
          </p:nvPr>
        </p:nvSpPr>
        <p:spPr>
          <a:xfrm>
            <a:off x="2012172" y="1238489"/>
            <a:ext cx="7655187" cy="1264923"/>
          </a:xfrm>
          <a:prstGeom prst="rect">
            <a:avLst/>
          </a:prstGeom>
        </p:spPr>
        <p:txBody>
          <a:bodyPr/>
          <a:lstStyle/>
          <a:p>
            <a:pPr marL="0" indent="0">
              <a:buNone/>
            </a:pPr>
            <a:r>
              <a:rPr lang="en-US" dirty="0" smtClean="0"/>
              <a:t>Unified interface to reading/writing data in a variety of formats.</a:t>
            </a:r>
            <a:endParaRPr lang="en-US" dirty="0"/>
          </a:p>
        </p:txBody>
      </p:sp>
      <p:sp>
        <p:nvSpPr>
          <p:cNvPr id="6" name="Rectangle 4"/>
          <p:cNvSpPr/>
          <p:nvPr/>
        </p:nvSpPr>
        <p:spPr>
          <a:xfrm>
            <a:off x="1722814" y="2503412"/>
            <a:ext cx="8821361" cy="366878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7" name="Rectangle 6"/>
          <p:cNvSpPr/>
          <p:nvPr/>
        </p:nvSpPr>
        <p:spPr>
          <a:xfrm>
            <a:off x="1987290" y="2743200"/>
            <a:ext cx="8351923" cy="3200400"/>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b="1" dirty="0" err="1">
                <a:solidFill>
                  <a:schemeClr val="accent4">
                    <a:lumMod val="40000"/>
                    <a:lumOff val="60000"/>
                  </a:schemeClr>
                </a:solidFill>
                <a:latin typeface="Consolas" charset="0"/>
                <a:ea typeface="Consolas" charset="0"/>
                <a:cs typeface="Consolas" charset="0"/>
              </a:rPr>
              <a:t>val</a:t>
            </a:r>
            <a:r>
              <a:rPr lang="en-US" b="1" dirty="0">
                <a:solidFill>
                  <a:schemeClr val="accent4">
                    <a:lumMod val="40000"/>
                    <a:lumOff val="60000"/>
                  </a:schemeClr>
                </a:solidFill>
                <a:latin typeface="Consolas" charset="0"/>
                <a:ea typeface="Consolas" charset="0"/>
                <a:cs typeface="Consolas" charset="0"/>
              </a:rPr>
              <a:t> </a:t>
            </a:r>
            <a:r>
              <a:rPr lang="en-US" b="1" dirty="0" err="1">
                <a:solidFill>
                  <a:schemeClr val="bg1">
                    <a:lumMod val="75000"/>
                  </a:schemeClr>
                </a:solidFill>
                <a:latin typeface="Consolas" charset="0"/>
                <a:ea typeface="Consolas" charset="0"/>
                <a:cs typeface="Consolas" charset="0"/>
              </a:rPr>
              <a:t>df</a:t>
            </a:r>
            <a:r>
              <a:rPr lang="en-US" b="1" dirty="0">
                <a:solidFill>
                  <a:schemeClr val="bg1">
                    <a:lumMod val="75000"/>
                  </a:schemeClr>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 </a:t>
            </a:r>
            <a:r>
              <a:rPr lang="en-US" dirty="0" err="1">
                <a:solidFill>
                  <a:schemeClr val="bg1">
                    <a:lumMod val="75000"/>
                  </a:schemeClr>
                </a:solidFill>
                <a:latin typeface="Consolas" charset="0"/>
                <a:ea typeface="Consolas" charset="0"/>
                <a:cs typeface="Consolas" charset="0"/>
              </a:rPr>
              <a:t>sqlContext</a:t>
            </a:r>
            <a:r>
              <a:rPr lang="en-US" dirty="0">
                <a:solidFill>
                  <a:schemeClr val="bg1">
                    <a:lumMod val="75000"/>
                  </a:schemeClr>
                </a:solidFill>
                <a:latin typeface="Consolas" charset="0"/>
                <a:ea typeface="Consolas" charset="0"/>
                <a:cs typeface="Consolas" charset="0"/>
              </a:rPr>
              <a:t>.</a:t>
            </a:r>
            <a:r>
              <a:rPr lang="en-US" dirty="0">
                <a:solidFill>
                  <a:srgbClr val="000000"/>
                </a:solidFill>
                <a:latin typeface="Consolas" charset="0"/>
                <a:ea typeface="Consolas" charset="0"/>
                <a:cs typeface="Consolas" charset="0"/>
              </a:rPr>
              <a:t/>
            </a:r>
            <a:br>
              <a:rPr lang="en-US" dirty="0">
                <a:solidFill>
                  <a:srgbClr val="000000"/>
                </a:solidFill>
                <a:latin typeface="Consolas" charset="0"/>
                <a:ea typeface="Consolas" charset="0"/>
                <a:cs typeface="Consolas" charset="0"/>
              </a:rPr>
            </a:br>
            <a:r>
              <a:rPr lang="en-US" dirty="0">
                <a:solidFill>
                  <a:srgbClr val="000000"/>
                </a:solidFill>
                <a:latin typeface="Consolas" charset="0"/>
                <a:ea typeface="Consolas" charset="0"/>
                <a:cs typeface="Consolas" charset="0"/>
              </a:rPr>
              <a:t>  read.</a:t>
            </a:r>
            <a:r>
              <a:rPr lang="cs-CZ" dirty="0">
                <a:latin typeface="Consolas" charset="0"/>
                <a:ea typeface="Consolas" charset="0"/>
                <a:cs typeface="Consolas" charset="0"/>
              </a:rPr>
              <a:t>              </a:t>
            </a:r>
            <a:br>
              <a:rPr lang="cs-CZ" dirty="0">
                <a:latin typeface="Consolas" charset="0"/>
                <a:ea typeface="Consolas" charset="0"/>
                <a:cs typeface="Consolas" charset="0"/>
              </a:rPr>
            </a:br>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format</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json</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en-US" dirty="0">
                <a:latin typeface="Consolas" charset="0"/>
                <a:ea typeface="Consolas" charset="0"/>
                <a:cs typeface="Consolas" charset="0"/>
              </a:rPr>
              <a:t>  </a:t>
            </a:r>
            <a:r>
              <a:rPr lang="en-US" dirty="0">
                <a:solidFill>
                  <a:schemeClr val="bg1">
                    <a:lumMod val="75000"/>
                  </a:schemeClr>
                </a:solidFill>
                <a:latin typeface="Consolas" charset="0"/>
                <a:ea typeface="Consolas" charset="0"/>
                <a:cs typeface="Consolas" charset="0"/>
              </a:rPr>
              <a:t>option(</a:t>
            </a:r>
            <a:r>
              <a:rPr lang="en-US" dirty="0">
                <a:solidFill>
                  <a:srgbClr val="A1B1FF"/>
                </a:solidFill>
                <a:latin typeface="Consolas" charset="0"/>
                <a:ea typeface="Consolas" charset="0"/>
                <a:cs typeface="Consolas" charset="0"/>
              </a:rPr>
              <a:t>"</a:t>
            </a:r>
            <a:r>
              <a:rPr lang="en-US" dirty="0" err="1">
                <a:solidFill>
                  <a:srgbClr val="A1B1FF"/>
                </a:solidFill>
                <a:latin typeface="Consolas" charset="0"/>
                <a:ea typeface="Consolas" charset="0"/>
                <a:cs typeface="Consolas" charset="0"/>
              </a:rPr>
              <a:t>samplingRatio</a:t>
            </a:r>
            <a:r>
              <a:rPr lang="en-US" dirty="0">
                <a:solidFill>
                  <a:srgbClr val="A1B1FF"/>
                </a:solidFill>
                <a:latin typeface="Consolas" charset="0"/>
                <a:ea typeface="Consolas" charset="0"/>
                <a:cs typeface="Consolas" charset="0"/>
              </a:rPr>
              <a:t>", "0.1"</a:t>
            </a:r>
            <a:r>
              <a:rPr lang="en-US"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load</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Users</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spark</a:t>
            </a:r>
            <a:r>
              <a:rPr lang="cs-CZ" dirty="0">
                <a:solidFill>
                  <a:srgbClr val="A1B1FF"/>
                </a:solidFill>
                <a:latin typeface="Consolas" charset="0"/>
                <a:ea typeface="Consolas" charset="0"/>
                <a:cs typeface="Consolas" charset="0"/>
              </a:rPr>
              <a:t>/data/</a:t>
            </a:r>
            <a:r>
              <a:rPr lang="cs-CZ" dirty="0" err="1">
                <a:solidFill>
                  <a:srgbClr val="A1B1FF"/>
                </a:solidFill>
                <a:latin typeface="Consolas" charset="0"/>
                <a:ea typeface="Consolas" charset="0"/>
                <a:cs typeface="Consolas" charset="0"/>
              </a:rPr>
              <a:t>stuff.json</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endParaRPr lang="cs-CZ" dirty="0">
              <a:latin typeface="Consolas" charset="0"/>
              <a:ea typeface="Consolas" charset="0"/>
              <a:cs typeface="Consolas" charset="0"/>
            </a:endParaRPr>
          </a:p>
          <a:p>
            <a:r>
              <a:rPr lang="cs-CZ" dirty="0" err="1">
                <a:solidFill>
                  <a:schemeClr val="bg1">
                    <a:lumMod val="75000"/>
                  </a:schemeClr>
                </a:solidFill>
                <a:latin typeface="Consolas" charset="0"/>
                <a:ea typeface="Consolas" charset="0"/>
                <a:cs typeface="Consolas" charset="0"/>
              </a:rPr>
              <a:t>df.</a:t>
            </a:r>
            <a:r>
              <a:rPr lang="cs-CZ" dirty="0" err="1">
                <a:solidFill>
                  <a:srgbClr val="000000"/>
                </a:solidFill>
                <a:latin typeface="Consolas" charset="0"/>
                <a:ea typeface="Consolas" charset="0"/>
                <a:cs typeface="Consolas" charset="0"/>
              </a:rPr>
              <a:t>write</a:t>
            </a:r>
            <a:r>
              <a:rPr lang="cs-CZ" dirty="0">
                <a:solidFill>
                  <a:srgbClr val="000000"/>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format</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parquet</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a:solidFill>
                  <a:schemeClr val="bg1">
                    <a:lumMod val="75000"/>
                  </a:schemeClr>
                </a:solidFill>
                <a:latin typeface="Consolas" charset="0"/>
                <a:ea typeface="Consolas" charset="0"/>
                <a:cs typeface="Consolas" charset="0"/>
              </a:rPr>
              <a:t>mode(</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append</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partitionBy</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year</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saveAsTable</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faster-stuff</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p:txBody>
      </p:sp>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06952" y="2771193"/>
            <a:ext cx="315382" cy="464575"/>
          </a:xfrm>
          <a:prstGeom prst="rect">
            <a:avLst/>
          </a:prstGeom>
        </p:spPr>
      </p:pic>
      <p:cxnSp>
        <p:nvCxnSpPr>
          <p:cNvPr id="12" name="Straight Arrow Connector 11"/>
          <p:cNvCxnSpPr/>
          <p:nvPr/>
        </p:nvCxnSpPr>
        <p:spPr>
          <a:xfrm flipH="1" flipV="1">
            <a:off x="2919240" y="3260182"/>
            <a:ext cx="4346043" cy="1388018"/>
          </a:xfrm>
          <a:prstGeom prst="straightConnector1">
            <a:avLst/>
          </a:prstGeom>
          <a:ln w="44450">
            <a:solidFill>
              <a:schemeClr val="accent6"/>
            </a:solidFill>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flipH="1" flipV="1">
            <a:off x="3124200" y="4648200"/>
            <a:ext cx="4141082" cy="469242"/>
          </a:xfrm>
          <a:prstGeom prst="straightConnector1">
            <a:avLst/>
          </a:prstGeom>
          <a:ln w="44450">
            <a:solidFill>
              <a:schemeClr val="accent6"/>
            </a:solidFill>
            <a:tailEnd type="triangle"/>
          </a:ln>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7280832" y="4540798"/>
            <a:ext cx="3263342" cy="1815882"/>
          </a:xfrm>
          <a:prstGeom prst="rect">
            <a:avLst/>
          </a:prstGeom>
          <a:solidFill>
            <a:schemeClr val="bg1">
              <a:lumMod val="95000"/>
            </a:schemeClr>
          </a:solidFill>
          <a:ln>
            <a:solidFill>
              <a:schemeClr val="accent6"/>
            </a:solidFill>
          </a:ln>
          <a:effectLst/>
        </p:spPr>
        <p:txBody>
          <a:bodyPr wrap="square" rtlCol="0">
            <a:spAutoFit/>
          </a:bodyPr>
          <a:lstStyle/>
          <a:p>
            <a:pPr algn="ctr"/>
            <a:r>
              <a:rPr lang="en-US" sz="2800" dirty="0">
                <a:solidFill>
                  <a:schemeClr val="accent6"/>
                </a:solidFill>
                <a:latin typeface="Consolas" charset="0"/>
                <a:ea typeface="Consolas" charset="0"/>
                <a:cs typeface="Consolas" charset="0"/>
              </a:rPr>
              <a:t>read</a:t>
            </a:r>
            <a:r>
              <a:rPr lang="en-US" sz="2800" dirty="0">
                <a:solidFill>
                  <a:schemeClr val="accent6"/>
                </a:solidFill>
                <a:latin typeface="Source Sans Pro" charset="0"/>
                <a:ea typeface="Source Sans Pro" charset="0"/>
                <a:cs typeface="Source Sans Pro" charset="0"/>
              </a:rPr>
              <a:t> </a:t>
            </a:r>
            <a:r>
              <a:rPr lang="en-US" sz="2800" dirty="0">
                <a:latin typeface="Source Sans Pro" charset="0"/>
                <a:ea typeface="Source Sans Pro" charset="0"/>
                <a:cs typeface="Source Sans Pro" charset="0"/>
              </a:rPr>
              <a:t>and </a:t>
            </a:r>
            <a:r>
              <a:rPr lang="en-US" sz="2800" dirty="0">
                <a:solidFill>
                  <a:schemeClr val="accent6"/>
                </a:solidFill>
                <a:latin typeface="Consolas" charset="0"/>
                <a:ea typeface="Consolas" charset="0"/>
                <a:cs typeface="Consolas" charset="0"/>
              </a:rPr>
              <a:t>write</a:t>
            </a:r>
            <a:r>
              <a:rPr lang="en-US" sz="2800" dirty="0">
                <a:latin typeface="Source Sans Pro" charset="0"/>
                <a:ea typeface="Source Sans Pro" charset="0"/>
                <a:cs typeface="Source Sans Pro" charset="0"/>
              </a:rPr>
              <a:t> functions create new builders for doing I/O</a:t>
            </a:r>
          </a:p>
        </p:txBody>
      </p:sp>
    </p:spTree>
    <p:extLst>
      <p:ext uri="{BB962C8B-B14F-4D97-AF65-F5344CB8AC3E}">
        <p14:creationId xmlns:p14="http://schemas.microsoft.com/office/powerpoint/2010/main" val="42116958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e Less Code: Input &amp; Output</a:t>
            </a:r>
            <a:endParaRPr lang="en-US" dirty="0"/>
          </a:p>
        </p:txBody>
      </p:sp>
      <p:sp>
        <p:nvSpPr>
          <p:cNvPr id="3" name="Content Placeholder 2"/>
          <p:cNvSpPr>
            <a:spLocks noGrp="1"/>
          </p:cNvSpPr>
          <p:nvPr>
            <p:ph idx="4294967295"/>
          </p:nvPr>
        </p:nvSpPr>
        <p:spPr>
          <a:xfrm>
            <a:off x="2012172" y="1238489"/>
            <a:ext cx="7655187" cy="1264923"/>
          </a:xfrm>
          <a:prstGeom prst="rect">
            <a:avLst/>
          </a:prstGeom>
        </p:spPr>
        <p:txBody>
          <a:bodyPr/>
          <a:lstStyle/>
          <a:p>
            <a:pPr marL="0" indent="0">
              <a:buNone/>
            </a:pPr>
            <a:r>
              <a:rPr lang="en-US" dirty="0" smtClean="0"/>
              <a:t>Unified interface to reading/writing data in a variety of formats.</a:t>
            </a:r>
            <a:endParaRPr lang="en-US" dirty="0"/>
          </a:p>
        </p:txBody>
      </p:sp>
      <p:sp>
        <p:nvSpPr>
          <p:cNvPr id="6" name="Rectangle 4"/>
          <p:cNvSpPr/>
          <p:nvPr/>
        </p:nvSpPr>
        <p:spPr>
          <a:xfrm>
            <a:off x="1722814" y="2503412"/>
            <a:ext cx="8821361" cy="366878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7" name="Rectangle 6"/>
          <p:cNvSpPr/>
          <p:nvPr/>
        </p:nvSpPr>
        <p:spPr>
          <a:xfrm>
            <a:off x="1987290" y="2743200"/>
            <a:ext cx="8351923" cy="3200400"/>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b="1" dirty="0" err="1">
                <a:solidFill>
                  <a:schemeClr val="accent4">
                    <a:lumMod val="40000"/>
                    <a:lumOff val="60000"/>
                  </a:schemeClr>
                </a:solidFill>
                <a:latin typeface="Consolas" charset="0"/>
                <a:ea typeface="Consolas" charset="0"/>
                <a:cs typeface="Consolas" charset="0"/>
              </a:rPr>
              <a:t>val</a:t>
            </a:r>
            <a:r>
              <a:rPr lang="en-US" b="1" dirty="0">
                <a:solidFill>
                  <a:schemeClr val="accent4">
                    <a:lumMod val="40000"/>
                    <a:lumOff val="60000"/>
                  </a:schemeClr>
                </a:solidFill>
                <a:latin typeface="Consolas" charset="0"/>
                <a:ea typeface="Consolas" charset="0"/>
                <a:cs typeface="Consolas" charset="0"/>
              </a:rPr>
              <a:t> </a:t>
            </a:r>
            <a:r>
              <a:rPr lang="en-US" b="1" dirty="0" err="1">
                <a:solidFill>
                  <a:schemeClr val="bg1">
                    <a:lumMod val="75000"/>
                  </a:schemeClr>
                </a:solidFill>
                <a:latin typeface="Consolas" charset="0"/>
                <a:ea typeface="Consolas" charset="0"/>
                <a:cs typeface="Consolas" charset="0"/>
              </a:rPr>
              <a:t>df</a:t>
            </a:r>
            <a:r>
              <a:rPr lang="en-US" b="1" dirty="0">
                <a:solidFill>
                  <a:schemeClr val="bg1">
                    <a:lumMod val="75000"/>
                  </a:schemeClr>
                </a:solidFill>
                <a:latin typeface="Consolas" charset="0"/>
                <a:ea typeface="Consolas" charset="0"/>
                <a:cs typeface="Consolas" charset="0"/>
              </a:rPr>
              <a:t> = </a:t>
            </a:r>
            <a:r>
              <a:rPr lang="en-US" dirty="0" err="1">
                <a:solidFill>
                  <a:schemeClr val="bg1">
                    <a:lumMod val="75000"/>
                  </a:schemeClr>
                </a:solidFill>
                <a:latin typeface="Consolas" charset="0"/>
                <a:ea typeface="Consolas" charset="0"/>
                <a:cs typeface="Consolas" charset="0"/>
              </a:rPr>
              <a:t>sqlContext</a:t>
            </a:r>
            <a:r>
              <a:rPr lang="en-US" dirty="0">
                <a:solidFill>
                  <a:schemeClr val="bg1">
                    <a:lumMod val="75000"/>
                  </a:schemeClr>
                </a:solidFill>
                <a:latin typeface="Consolas" charset="0"/>
                <a:ea typeface="Consolas" charset="0"/>
                <a:cs typeface="Consolas" charset="0"/>
              </a:rPr>
              <a:t>.</a:t>
            </a:r>
            <a:br>
              <a:rPr lang="en-US" dirty="0">
                <a:solidFill>
                  <a:schemeClr val="bg1">
                    <a:lumMod val="75000"/>
                  </a:schemeClr>
                </a:solidFill>
                <a:latin typeface="Consolas" charset="0"/>
                <a:ea typeface="Consolas" charset="0"/>
                <a:cs typeface="Consolas" charset="0"/>
              </a:rPr>
            </a:br>
            <a:r>
              <a:rPr lang="en-US" dirty="0">
                <a:solidFill>
                  <a:schemeClr val="bg1">
                    <a:lumMod val="75000"/>
                  </a:schemeClr>
                </a:solidFill>
                <a:latin typeface="Consolas" charset="0"/>
                <a:ea typeface="Consolas" charset="0"/>
                <a:cs typeface="Consolas" charset="0"/>
              </a:rPr>
              <a:t>  read.</a:t>
            </a:r>
            <a:r>
              <a:rPr lang="cs-CZ" dirty="0">
                <a:solidFill>
                  <a:schemeClr val="bg1">
                    <a:lumMod val="75000"/>
                  </a:schemeClr>
                </a:solidFill>
                <a:latin typeface="Consolas" charset="0"/>
                <a:ea typeface="Consolas" charset="0"/>
                <a:cs typeface="Consolas" charset="0"/>
              </a:rPr>
              <a:t> </a:t>
            </a:r>
            <a:r>
              <a:rPr lang="cs-CZ" dirty="0">
                <a:latin typeface="Consolas" charset="0"/>
                <a:ea typeface="Consolas" charset="0"/>
                <a:cs typeface="Consolas" charset="0"/>
              </a:rPr>
              <a:t>             </a:t>
            </a:r>
            <a:br>
              <a:rPr lang="cs-CZ" dirty="0">
                <a:latin typeface="Consolas" charset="0"/>
                <a:ea typeface="Consolas" charset="0"/>
                <a:cs typeface="Consolas" charset="0"/>
              </a:rPr>
            </a:br>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format</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json</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option(</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samplingRatio</a:t>
            </a:r>
            <a:r>
              <a:rPr lang="en-US" dirty="0">
                <a:solidFill>
                  <a:srgbClr val="0000BB"/>
                </a:solidFill>
                <a:latin typeface="Consolas" charset="0"/>
                <a:ea typeface="Consolas" charset="0"/>
                <a:cs typeface="Consolas" charset="0"/>
              </a:rPr>
              <a:t>", "0.1"</a:t>
            </a:r>
            <a:r>
              <a:rPr lang="en-US"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load</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Users</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spark</a:t>
            </a:r>
            <a:r>
              <a:rPr lang="cs-CZ" dirty="0">
                <a:solidFill>
                  <a:srgbClr val="A1B1FF"/>
                </a:solidFill>
                <a:latin typeface="Consolas" charset="0"/>
                <a:ea typeface="Consolas" charset="0"/>
                <a:cs typeface="Consolas" charset="0"/>
              </a:rPr>
              <a:t>/data/</a:t>
            </a:r>
            <a:r>
              <a:rPr lang="cs-CZ" dirty="0" err="1">
                <a:solidFill>
                  <a:srgbClr val="A1B1FF"/>
                </a:solidFill>
                <a:latin typeface="Consolas" charset="0"/>
                <a:ea typeface="Consolas" charset="0"/>
                <a:cs typeface="Consolas" charset="0"/>
              </a:rPr>
              <a:t>stuff.json</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endParaRPr lang="cs-CZ" dirty="0">
              <a:latin typeface="Consolas" charset="0"/>
              <a:ea typeface="Consolas" charset="0"/>
              <a:cs typeface="Consolas" charset="0"/>
            </a:endParaRPr>
          </a:p>
          <a:p>
            <a:r>
              <a:rPr lang="cs-CZ" dirty="0" err="1">
                <a:solidFill>
                  <a:schemeClr val="bg1">
                    <a:lumMod val="75000"/>
                  </a:schemeClr>
                </a:solidFill>
                <a:latin typeface="Consolas" charset="0"/>
                <a:ea typeface="Consolas" charset="0"/>
                <a:cs typeface="Consolas" charset="0"/>
              </a:rPr>
              <a:t>df.write</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format</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parquet</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a:solidFill>
                  <a:srgbClr val="000000"/>
                </a:solidFill>
                <a:latin typeface="Consolas" charset="0"/>
                <a:ea typeface="Consolas" charset="0"/>
                <a:cs typeface="Consolas" charset="0"/>
              </a:rPr>
              <a:t>mode(</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append</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partitionBy</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year</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saveAsTable</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faster-stuff</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p:txBody>
      </p:sp>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06952" y="2771193"/>
            <a:ext cx="315382" cy="464575"/>
          </a:xfrm>
          <a:prstGeom prst="rect">
            <a:avLst/>
          </a:prstGeom>
        </p:spPr>
      </p:pic>
      <p:sp>
        <p:nvSpPr>
          <p:cNvPr id="16" name="TextBox 15"/>
          <p:cNvSpPr txBox="1"/>
          <p:nvPr/>
        </p:nvSpPr>
        <p:spPr>
          <a:xfrm>
            <a:off x="6837068" y="3370421"/>
            <a:ext cx="3707106" cy="2782730"/>
          </a:xfrm>
          <a:prstGeom prst="rect">
            <a:avLst/>
          </a:prstGeom>
          <a:solidFill>
            <a:schemeClr val="bg1">
              <a:lumMod val="95000"/>
            </a:schemeClr>
          </a:solidFill>
          <a:ln>
            <a:solidFill>
              <a:schemeClr val="tx1"/>
            </a:solidFill>
          </a:ln>
          <a:effectLst/>
        </p:spPr>
        <p:txBody>
          <a:bodyPr wrap="square" rtlCol="0">
            <a:spAutoFit/>
          </a:bodyPr>
          <a:lstStyle/>
          <a:p>
            <a:r>
              <a:rPr lang="en-US" sz="2800" dirty="0">
                <a:latin typeface="Source Sans Pro" charset="0"/>
                <a:ea typeface="Source Sans Pro" charset="0"/>
                <a:cs typeface="Source Sans Pro" charset="0"/>
              </a:rPr>
              <a:t>Builder methods</a:t>
            </a:r>
          </a:p>
          <a:p>
            <a:r>
              <a:rPr lang="en-US" sz="2800" dirty="0">
                <a:latin typeface="Source Sans Pro" charset="0"/>
                <a:ea typeface="Source Sans Pro" charset="0"/>
                <a:cs typeface="Source Sans Pro" charset="0"/>
              </a:rPr>
              <a:t>specify:</a:t>
            </a:r>
          </a:p>
          <a:p>
            <a:pPr marL="457200" indent="-457200">
              <a:buFont typeface="Arial" charset="0"/>
              <a:buChar char="•"/>
            </a:pPr>
            <a:r>
              <a:rPr lang="en-US" sz="2800" dirty="0">
                <a:latin typeface="Source Sans Pro" charset="0"/>
                <a:ea typeface="Source Sans Pro" charset="0"/>
                <a:cs typeface="Source Sans Pro" charset="0"/>
              </a:rPr>
              <a:t>format</a:t>
            </a:r>
          </a:p>
          <a:p>
            <a:pPr marL="457200" indent="-457200">
              <a:buFont typeface="Arial" charset="0"/>
              <a:buChar char="•"/>
            </a:pPr>
            <a:r>
              <a:rPr lang="en-US" sz="2800" dirty="0">
                <a:latin typeface="Source Sans Pro" charset="0"/>
                <a:ea typeface="Source Sans Pro" charset="0"/>
                <a:cs typeface="Source Sans Pro" charset="0"/>
              </a:rPr>
              <a:t>partitioning</a:t>
            </a:r>
          </a:p>
          <a:p>
            <a:pPr marL="457200" indent="-457200">
              <a:buFont typeface="Arial" charset="0"/>
              <a:buChar char="•"/>
            </a:pPr>
            <a:r>
              <a:rPr lang="en-US" sz="2800" dirty="0">
                <a:latin typeface="Source Sans Pro" charset="0"/>
                <a:ea typeface="Source Sans Pro" charset="0"/>
                <a:cs typeface="Source Sans Pro" charset="0"/>
              </a:rPr>
              <a:t>handling of existing data</a:t>
            </a:r>
          </a:p>
        </p:txBody>
      </p:sp>
      <p:sp>
        <p:nvSpPr>
          <p:cNvPr id="5" name="TextBox 4"/>
          <p:cNvSpPr txBox="1"/>
          <p:nvPr/>
        </p:nvSpPr>
        <p:spPr>
          <a:xfrm>
            <a:off x="6133493" y="3203935"/>
            <a:ext cx="643968" cy="769441"/>
          </a:xfrm>
          <a:prstGeom prst="rect">
            <a:avLst/>
          </a:prstGeom>
          <a:noFill/>
        </p:spPr>
        <p:txBody>
          <a:bodyPr wrap="square" rtlCol="0">
            <a:spAutoFit/>
          </a:bodyPr>
          <a:lstStyle/>
          <a:p>
            <a:r>
              <a:rPr lang="en-US" sz="4400" b="1" dirty="0">
                <a:latin typeface="Consolas" charset="0"/>
                <a:ea typeface="Consolas" charset="0"/>
                <a:cs typeface="Consolas" charset="0"/>
              </a:rPr>
              <a:t>}</a:t>
            </a:r>
          </a:p>
        </p:txBody>
      </p:sp>
      <p:sp>
        <p:nvSpPr>
          <p:cNvPr id="14" name="TextBox 13"/>
          <p:cNvSpPr txBox="1"/>
          <p:nvPr/>
        </p:nvSpPr>
        <p:spPr>
          <a:xfrm>
            <a:off x="6133493" y="4672905"/>
            <a:ext cx="643968" cy="923330"/>
          </a:xfrm>
          <a:prstGeom prst="rect">
            <a:avLst/>
          </a:prstGeom>
          <a:noFill/>
        </p:spPr>
        <p:txBody>
          <a:bodyPr wrap="square" rtlCol="0">
            <a:spAutoFit/>
          </a:bodyPr>
          <a:lstStyle/>
          <a:p>
            <a:r>
              <a:rPr lang="en-US" sz="5400" b="1" dirty="0">
                <a:latin typeface="Consolas" charset="0"/>
                <a:ea typeface="Consolas" charset="0"/>
                <a:cs typeface="Consolas" charset="0"/>
              </a:rPr>
              <a:t>}</a:t>
            </a:r>
          </a:p>
        </p:txBody>
      </p:sp>
    </p:spTree>
    <p:extLst>
      <p:ext uri="{BB962C8B-B14F-4D97-AF65-F5344CB8AC3E}">
        <p14:creationId xmlns:p14="http://schemas.microsoft.com/office/powerpoint/2010/main" val="36555840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e Less Code: Input &amp; Output</a:t>
            </a:r>
            <a:endParaRPr lang="en-US" dirty="0"/>
          </a:p>
        </p:txBody>
      </p:sp>
      <p:sp>
        <p:nvSpPr>
          <p:cNvPr id="3" name="Content Placeholder 2"/>
          <p:cNvSpPr>
            <a:spLocks noGrp="1"/>
          </p:cNvSpPr>
          <p:nvPr>
            <p:ph idx="4294967295"/>
          </p:nvPr>
        </p:nvSpPr>
        <p:spPr>
          <a:xfrm>
            <a:off x="2012172" y="1238489"/>
            <a:ext cx="7655187" cy="1264923"/>
          </a:xfrm>
          <a:prstGeom prst="rect">
            <a:avLst/>
          </a:prstGeom>
        </p:spPr>
        <p:txBody>
          <a:bodyPr/>
          <a:lstStyle/>
          <a:p>
            <a:pPr marL="0" indent="0">
              <a:buNone/>
            </a:pPr>
            <a:r>
              <a:rPr lang="en-US" dirty="0" smtClean="0"/>
              <a:t>Unified interface to reading/writing data in a variety of formats.</a:t>
            </a:r>
            <a:endParaRPr lang="en-US" dirty="0"/>
          </a:p>
        </p:txBody>
      </p:sp>
      <p:sp>
        <p:nvSpPr>
          <p:cNvPr id="6" name="Rectangle 4"/>
          <p:cNvSpPr/>
          <p:nvPr/>
        </p:nvSpPr>
        <p:spPr>
          <a:xfrm>
            <a:off x="1722814" y="2503412"/>
            <a:ext cx="8821361" cy="366878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7" name="Rectangle 6"/>
          <p:cNvSpPr/>
          <p:nvPr/>
        </p:nvSpPr>
        <p:spPr>
          <a:xfrm>
            <a:off x="1987290" y="2743200"/>
            <a:ext cx="8351923" cy="3200400"/>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b="1" dirty="0" err="1">
                <a:solidFill>
                  <a:schemeClr val="accent4">
                    <a:lumMod val="40000"/>
                    <a:lumOff val="60000"/>
                  </a:schemeClr>
                </a:solidFill>
                <a:latin typeface="Consolas" charset="0"/>
                <a:ea typeface="Consolas" charset="0"/>
                <a:cs typeface="Consolas" charset="0"/>
              </a:rPr>
              <a:t>val</a:t>
            </a:r>
            <a:r>
              <a:rPr lang="en-US" b="1" dirty="0">
                <a:solidFill>
                  <a:schemeClr val="accent4">
                    <a:lumMod val="40000"/>
                    <a:lumOff val="60000"/>
                  </a:schemeClr>
                </a:solidFill>
                <a:latin typeface="Consolas" charset="0"/>
                <a:ea typeface="Consolas" charset="0"/>
                <a:cs typeface="Consolas" charset="0"/>
              </a:rPr>
              <a:t> </a:t>
            </a:r>
            <a:r>
              <a:rPr lang="en-US" b="1" dirty="0" err="1">
                <a:solidFill>
                  <a:schemeClr val="bg1">
                    <a:lumMod val="75000"/>
                  </a:schemeClr>
                </a:solidFill>
                <a:latin typeface="Consolas" charset="0"/>
                <a:ea typeface="Consolas" charset="0"/>
                <a:cs typeface="Consolas" charset="0"/>
              </a:rPr>
              <a:t>df</a:t>
            </a:r>
            <a:r>
              <a:rPr lang="en-US" b="1" dirty="0">
                <a:solidFill>
                  <a:schemeClr val="bg1">
                    <a:lumMod val="75000"/>
                  </a:schemeClr>
                </a:solidFill>
                <a:latin typeface="Consolas" charset="0"/>
                <a:ea typeface="Consolas" charset="0"/>
                <a:cs typeface="Consolas" charset="0"/>
              </a:rPr>
              <a:t> = </a:t>
            </a:r>
            <a:r>
              <a:rPr lang="en-US" dirty="0" err="1">
                <a:solidFill>
                  <a:schemeClr val="bg1">
                    <a:lumMod val="75000"/>
                  </a:schemeClr>
                </a:solidFill>
                <a:latin typeface="Consolas" charset="0"/>
                <a:ea typeface="Consolas" charset="0"/>
                <a:cs typeface="Consolas" charset="0"/>
              </a:rPr>
              <a:t>sqlContext</a:t>
            </a:r>
            <a:r>
              <a:rPr lang="en-US" dirty="0">
                <a:solidFill>
                  <a:schemeClr val="bg1">
                    <a:lumMod val="75000"/>
                  </a:schemeClr>
                </a:solidFill>
                <a:latin typeface="Consolas" charset="0"/>
                <a:ea typeface="Consolas" charset="0"/>
                <a:cs typeface="Consolas" charset="0"/>
              </a:rPr>
              <a:t>.</a:t>
            </a:r>
            <a:br>
              <a:rPr lang="en-US" dirty="0">
                <a:solidFill>
                  <a:schemeClr val="bg1">
                    <a:lumMod val="75000"/>
                  </a:schemeClr>
                </a:solidFill>
                <a:latin typeface="Consolas" charset="0"/>
                <a:ea typeface="Consolas" charset="0"/>
                <a:cs typeface="Consolas" charset="0"/>
              </a:rPr>
            </a:br>
            <a:r>
              <a:rPr lang="en-US" dirty="0">
                <a:solidFill>
                  <a:schemeClr val="bg1">
                    <a:lumMod val="75000"/>
                  </a:schemeClr>
                </a:solidFill>
                <a:latin typeface="Consolas" charset="0"/>
                <a:ea typeface="Consolas" charset="0"/>
                <a:cs typeface="Consolas" charset="0"/>
              </a:rPr>
              <a:t>  read.</a:t>
            </a:r>
            <a:r>
              <a:rPr lang="cs-CZ" dirty="0">
                <a:solidFill>
                  <a:schemeClr val="bg1">
                    <a:lumMod val="75000"/>
                  </a:schemeClr>
                </a:solidFill>
                <a:latin typeface="Consolas" charset="0"/>
                <a:ea typeface="Consolas" charset="0"/>
                <a:cs typeface="Consolas" charset="0"/>
              </a:rPr>
              <a:t> </a:t>
            </a:r>
            <a:r>
              <a:rPr lang="cs-CZ" dirty="0">
                <a:latin typeface="Consolas" charset="0"/>
                <a:ea typeface="Consolas" charset="0"/>
                <a:cs typeface="Consolas" charset="0"/>
              </a:rPr>
              <a:t>             </a:t>
            </a:r>
            <a:br>
              <a:rPr lang="cs-CZ" dirty="0">
                <a:latin typeface="Consolas" charset="0"/>
                <a:ea typeface="Consolas" charset="0"/>
                <a:cs typeface="Consolas" charset="0"/>
              </a:rPr>
            </a:br>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format</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json</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en-US" dirty="0">
                <a:latin typeface="Consolas" charset="0"/>
                <a:ea typeface="Consolas" charset="0"/>
                <a:cs typeface="Consolas" charset="0"/>
              </a:rPr>
              <a:t>  </a:t>
            </a:r>
            <a:r>
              <a:rPr lang="en-US" dirty="0">
                <a:solidFill>
                  <a:schemeClr val="bg1">
                    <a:lumMod val="75000"/>
                  </a:schemeClr>
                </a:solidFill>
                <a:latin typeface="Consolas" charset="0"/>
                <a:ea typeface="Consolas" charset="0"/>
                <a:cs typeface="Consolas" charset="0"/>
              </a:rPr>
              <a:t>option(</a:t>
            </a:r>
            <a:r>
              <a:rPr lang="en-US" dirty="0">
                <a:solidFill>
                  <a:srgbClr val="A1B1FF"/>
                </a:solidFill>
                <a:latin typeface="Consolas" charset="0"/>
                <a:ea typeface="Consolas" charset="0"/>
                <a:cs typeface="Consolas" charset="0"/>
              </a:rPr>
              <a:t>"</a:t>
            </a:r>
            <a:r>
              <a:rPr lang="en-US" dirty="0" err="1">
                <a:solidFill>
                  <a:srgbClr val="A1B1FF"/>
                </a:solidFill>
                <a:latin typeface="Consolas" charset="0"/>
                <a:ea typeface="Consolas" charset="0"/>
                <a:cs typeface="Consolas" charset="0"/>
              </a:rPr>
              <a:t>samplingRatio</a:t>
            </a:r>
            <a:r>
              <a:rPr lang="en-US" dirty="0">
                <a:solidFill>
                  <a:srgbClr val="A1B1FF"/>
                </a:solidFill>
                <a:latin typeface="Consolas" charset="0"/>
                <a:ea typeface="Consolas" charset="0"/>
                <a:cs typeface="Consolas" charset="0"/>
              </a:rPr>
              <a:t>", "0.1"</a:t>
            </a:r>
            <a:r>
              <a:rPr lang="en-US"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tx1"/>
                </a:solidFill>
                <a:latin typeface="Consolas" charset="0"/>
                <a:ea typeface="Consolas" charset="0"/>
                <a:cs typeface="Consolas" charset="0"/>
              </a:rPr>
              <a:t>load</a:t>
            </a:r>
            <a:r>
              <a:rPr lang="cs-CZ" dirty="0">
                <a:solidFill>
                  <a:schemeClr val="tx1"/>
                </a:solidFill>
                <a:latin typeface="Consolas" charset="0"/>
                <a:ea typeface="Consolas" charset="0"/>
                <a:cs typeface="Consolas" charset="0"/>
              </a:rPr>
              <a:t>(</a:t>
            </a:r>
            <a:r>
              <a:rPr lang="cs-CZ" dirty="0">
                <a:solidFill>
                  <a:srgbClr val="0634C0"/>
                </a:solidFill>
                <a:latin typeface="Consolas" charset="0"/>
                <a:ea typeface="Consolas" charset="0"/>
                <a:cs typeface="Consolas" charset="0"/>
              </a:rPr>
              <a:t>"/</a:t>
            </a:r>
            <a:r>
              <a:rPr lang="cs-CZ" dirty="0" err="1">
                <a:solidFill>
                  <a:srgbClr val="0634C0"/>
                </a:solidFill>
                <a:latin typeface="Consolas" charset="0"/>
                <a:ea typeface="Consolas" charset="0"/>
                <a:cs typeface="Consolas" charset="0"/>
              </a:rPr>
              <a:t>Users</a:t>
            </a:r>
            <a:r>
              <a:rPr lang="cs-CZ" dirty="0">
                <a:solidFill>
                  <a:srgbClr val="0634C0"/>
                </a:solidFill>
                <a:latin typeface="Consolas" charset="0"/>
                <a:ea typeface="Consolas" charset="0"/>
                <a:cs typeface="Consolas" charset="0"/>
              </a:rPr>
              <a:t>/</a:t>
            </a:r>
            <a:r>
              <a:rPr lang="cs-CZ" dirty="0" err="1">
                <a:solidFill>
                  <a:srgbClr val="0634C0"/>
                </a:solidFill>
                <a:latin typeface="Consolas" charset="0"/>
                <a:ea typeface="Consolas" charset="0"/>
                <a:cs typeface="Consolas" charset="0"/>
              </a:rPr>
              <a:t>spark</a:t>
            </a:r>
            <a:r>
              <a:rPr lang="cs-CZ" dirty="0">
                <a:solidFill>
                  <a:srgbClr val="0634C0"/>
                </a:solidFill>
                <a:latin typeface="Consolas" charset="0"/>
                <a:ea typeface="Consolas" charset="0"/>
                <a:cs typeface="Consolas" charset="0"/>
              </a:rPr>
              <a:t>/data/</a:t>
            </a:r>
            <a:r>
              <a:rPr lang="cs-CZ" dirty="0" err="1">
                <a:solidFill>
                  <a:srgbClr val="0634C0"/>
                </a:solidFill>
                <a:latin typeface="Consolas" charset="0"/>
                <a:ea typeface="Consolas" charset="0"/>
                <a:cs typeface="Consolas" charset="0"/>
              </a:rPr>
              <a:t>stuff.json</a:t>
            </a:r>
            <a:r>
              <a:rPr lang="cs-CZ" dirty="0">
                <a:solidFill>
                  <a:srgbClr val="0634C0"/>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endParaRPr lang="cs-CZ" dirty="0">
              <a:latin typeface="Consolas" charset="0"/>
              <a:ea typeface="Consolas" charset="0"/>
              <a:cs typeface="Consolas" charset="0"/>
            </a:endParaRPr>
          </a:p>
          <a:p>
            <a:r>
              <a:rPr lang="cs-CZ" dirty="0" err="1">
                <a:solidFill>
                  <a:schemeClr val="bg1">
                    <a:lumMod val="75000"/>
                  </a:schemeClr>
                </a:solidFill>
                <a:latin typeface="Consolas" charset="0"/>
                <a:ea typeface="Consolas" charset="0"/>
                <a:cs typeface="Consolas" charset="0"/>
              </a:rPr>
              <a:t>df.write</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format</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parquet</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solidFill>
                  <a:schemeClr val="bg1">
                    <a:lumMod val="75000"/>
                  </a:schemeClr>
                </a:solidFill>
                <a:latin typeface="Consolas" charset="0"/>
                <a:ea typeface="Consolas" charset="0"/>
                <a:cs typeface="Consolas" charset="0"/>
              </a:rPr>
              <a:t>   mode(</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append</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solidFill>
                  <a:schemeClr val="bg1">
                    <a:lumMod val="75000"/>
                  </a:schemeClr>
                </a:solidFill>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partitionBy</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year</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tx1"/>
                </a:solidFill>
                <a:latin typeface="Consolas" charset="0"/>
                <a:ea typeface="Consolas" charset="0"/>
                <a:cs typeface="Consolas" charset="0"/>
              </a:rPr>
              <a:t>saveAsTable</a:t>
            </a:r>
            <a:r>
              <a:rPr lang="cs-CZ" dirty="0">
                <a:solidFill>
                  <a:schemeClr val="tx1"/>
                </a:solidFill>
                <a:latin typeface="Consolas" charset="0"/>
                <a:ea typeface="Consolas" charset="0"/>
                <a:cs typeface="Consolas" charset="0"/>
              </a:rPr>
              <a:t>(</a:t>
            </a:r>
            <a:r>
              <a:rPr lang="cs-CZ" dirty="0">
                <a:solidFill>
                  <a:srgbClr val="0634C0"/>
                </a:solidFill>
                <a:latin typeface="Consolas" charset="0"/>
                <a:ea typeface="Consolas" charset="0"/>
                <a:cs typeface="Consolas" charset="0"/>
              </a:rPr>
              <a:t>"</a:t>
            </a:r>
            <a:r>
              <a:rPr lang="cs-CZ" dirty="0" err="1">
                <a:solidFill>
                  <a:srgbClr val="0634C0"/>
                </a:solidFill>
                <a:latin typeface="Consolas" charset="0"/>
                <a:ea typeface="Consolas" charset="0"/>
                <a:cs typeface="Consolas" charset="0"/>
              </a:rPr>
              <a:t>faster-stuff</a:t>
            </a:r>
            <a:r>
              <a:rPr lang="cs-CZ" dirty="0">
                <a:solidFill>
                  <a:srgbClr val="0634C0"/>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p:txBody>
      </p:sp>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06952" y="2771193"/>
            <a:ext cx="315382" cy="464575"/>
          </a:xfrm>
          <a:prstGeom prst="rect">
            <a:avLst/>
          </a:prstGeom>
        </p:spPr>
      </p:pic>
      <p:sp>
        <p:nvSpPr>
          <p:cNvPr id="16" name="TextBox 15"/>
          <p:cNvSpPr txBox="1"/>
          <p:nvPr/>
        </p:nvSpPr>
        <p:spPr>
          <a:xfrm>
            <a:off x="7111878" y="3614617"/>
            <a:ext cx="3432297" cy="1815882"/>
          </a:xfrm>
          <a:prstGeom prst="rect">
            <a:avLst/>
          </a:prstGeom>
          <a:solidFill>
            <a:schemeClr val="bg1">
              <a:lumMod val="95000"/>
            </a:schemeClr>
          </a:solidFill>
          <a:ln>
            <a:solidFill>
              <a:srgbClr val="C00000"/>
            </a:solidFill>
          </a:ln>
          <a:effectLst/>
        </p:spPr>
        <p:txBody>
          <a:bodyPr wrap="square" rtlCol="0">
            <a:spAutoFit/>
          </a:bodyPr>
          <a:lstStyle/>
          <a:p>
            <a:r>
              <a:rPr lang="en-US" sz="2800" dirty="0">
                <a:solidFill>
                  <a:srgbClr val="C00000"/>
                </a:solidFill>
                <a:latin typeface="Consolas" charset="0"/>
                <a:ea typeface="Consolas" charset="0"/>
                <a:cs typeface="Consolas" charset="0"/>
              </a:rPr>
              <a:t>load(…)</a:t>
            </a:r>
            <a:r>
              <a:rPr lang="en-US" sz="2800" dirty="0">
                <a:latin typeface="Source Sans Pro" charset="0"/>
                <a:ea typeface="Source Sans Pro" charset="0"/>
                <a:cs typeface="Source Sans Pro" charset="0"/>
              </a:rPr>
              <a:t>, </a:t>
            </a:r>
            <a:r>
              <a:rPr lang="en-US" sz="2800" dirty="0">
                <a:solidFill>
                  <a:srgbClr val="C00000"/>
                </a:solidFill>
                <a:latin typeface="Consolas" charset="0"/>
                <a:ea typeface="Consolas" charset="0"/>
                <a:cs typeface="Consolas" charset="0"/>
              </a:rPr>
              <a:t>save(…)</a:t>
            </a:r>
            <a:r>
              <a:rPr lang="en-US" sz="2800" dirty="0">
                <a:latin typeface="Source Sans Pro" charset="0"/>
                <a:ea typeface="Source Sans Pro" charset="0"/>
                <a:cs typeface="Source Sans Pro" charset="0"/>
              </a:rPr>
              <a:t>, or </a:t>
            </a:r>
            <a:r>
              <a:rPr lang="en-US" sz="2800" dirty="0" err="1">
                <a:solidFill>
                  <a:srgbClr val="C00000"/>
                </a:solidFill>
                <a:latin typeface="Consolas" charset="0"/>
                <a:ea typeface="Consolas" charset="0"/>
                <a:cs typeface="Consolas" charset="0"/>
              </a:rPr>
              <a:t>saveAsTable</a:t>
            </a:r>
            <a:r>
              <a:rPr lang="en-US" sz="2800" dirty="0">
                <a:solidFill>
                  <a:srgbClr val="C00000"/>
                </a:solidFill>
                <a:latin typeface="Consolas" charset="0"/>
                <a:ea typeface="Consolas" charset="0"/>
                <a:cs typeface="Consolas" charset="0"/>
              </a:rPr>
              <a:t>(…)</a:t>
            </a:r>
            <a:r>
              <a:rPr lang="en-US" sz="2800" dirty="0">
                <a:latin typeface="Source Sans Pro" charset="0"/>
                <a:ea typeface="Source Sans Pro" charset="0"/>
                <a:cs typeface="Source Sans Pro" charset="0"/>
              </a:rPr>
              <a:t> finish the I/O specification</a:t>
            </a:r>
          </a:p>
        </p:txBody>
      </p:sp>
      <p:cxnSp>
        <p:nvCxnSpPr>
          <p:cNvPr id="11" name="Straight Arrow Connector 10"/>
          <p:cNvCxnSpPr/>
          <p:nvPr/>
        </p:nvCxnSpPr>
        <p:spPr>
          <a:xfrm flipH="1" flipV="1">
            <a:off x="2848576" y="4217940"/>
            <a:ext cx="4161824" cy="462766"/>
          </a:xfrm>
          <a:prstGeom prst="straightConnector1">
            <a:avLst/>
          </a:prstGeom>
          <a:ln w="44450">
            <a:solidFill>
              <a:schemeClr val="accent6"/>
            </a:solidFill>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flipH="1">
            <a:off x="3810000" y="4800600"/>
            <a:ext cx="3200400" cy="790878"/>
          </a:xfrm>
          <a:prstGeom prst="straightConnector1">
            <a:avLst/>
          </a:prstGeom>
          <a:ln w="44450">
            <a:solidFill>
              <a:schemeClr val="accent6"/>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9613747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SQL overview</a:t>
            </a:r>
          </a:p>
        </p:txBody>
      </p:sp>
      <p:sp>
        <p:nvSpPr>
          <p:cNvPr id="4" name="TextBox 3"/>
          <p:cNvSpPr txBox="1"/>
          <p:nvPr/>
        </p:nvSpPr>
        <p:spPr>
          <a:xfrm>
            <a:off x="533112" y="1296294"/>
            <a:ext cx="11125153" cy="339757"/>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600"/>
              </a:spcBef>
              <a:spcAft>
                <a:spcPts val="0"/>
              </a:spcAft>
              <a:tabLst>
                <a:tab pos="632806" algn="l"/>
              </a:tabLst>
            </a:pPr>
            <a:endParaRPr lang="en-US" sz="1800" kern="0" dirty="0"/>
          </a:p>
        </p:txBody>
      </p:sp>
      <p:grpSp>
        <p:nvGrpSpPr>
          <p:cNvPr id="3" name="Group 2"/>
          <p:cNvGrpSpPr/>
          <p:nvPr/>
        </p:nvGrpSpPr>
        <p:grpSpPr>
          <a:xfrm>
            <a:off x="736789" y="2419412"/>
            <a:ext cx="4322561" cy="3169847"/>
            <a:chOff x="1296194" y="2467430"/>
            <a:chExt cx="3864605" cy="2834016"/>
          </a:xfrm>
        </p:grpSpPr>
        <p:pic>
          <p:nvPicPr>
            <p:cNvPr id="5122" name="Picture 2" descr="http://www.ydop.com/wp-content/uploads/2015/06/json-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02992" y="2771868"/>
              <a:ext cx="914400" cy="437322"/>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www.pinaldave.com/bimg/hive_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1090" y="3657600"/>
              <a:ext cx="769618" cy="738832"/>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https://hadoop.apache.org/docs/r2.4.1/hadoop-project-dist/hadoop-hdfs/images/hdfs-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6194" y="4730349"/>
              <a:ext cx="1021198" cy="571097"/>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https://upload.wikimedia.org/wikipedia/en/thumb/6/62/MySQL.svg/640px-MySQL.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79330" y="3790558"/>
              <a:ext cx="914400" cy="472916"/>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http://www.signiant.com/wp-content/uploads/2015/06/S3-.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87320" y="4941164"/>
              <a:ext cx="914400" cy="229173"/>
            </a:xfrm>
            <a:prstGeom prst="rect">
              <a:avLst/>
            </a:prstGeom>
            <a:noFill/>
            <a:extLst>
              <a:ext uri="{909E8E84-426E-40DD-AFC4-6F175D3DCCD1}">
                <a14:hiddenFill xmlns:a14="http://schemas.microsoft.com/office/drawing/2010/main">
                  <a:solidFill>
                    <a:srgbClr val="FFFFFF"/>
                  </a:solidFill>
                </a14:hiddenFill>
              </a:ext>
            </a:extLst>
          </p:spPr>
        </p:pic>
        <p:pic>
          <p:nvPicPr>
            <p:cNvPr id="5134" name="Picture 14" descr="https://d13yacurqjgara.cloudfront.net/users/299/screenshots/1625979/parquet-drib_1x.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71861" y="2467430"/>
              <a:ext cx="1388938" cy="1041702"/>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http://www.tivix.com/uploads/blog_pics/postgresql_1.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70029" y="3715658"/>
              <a:ext cx="825038" cy="731602"/>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descr="http://www.h2database.com/html/images/h2-logo-2.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37078" y="4847772"/>
              <a:ext cx="810100" cy="443484"/>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p:nvGrpSpPr>
          <p:grpSpPr>
            <a:xfrm>
              <a:off x="2660757" y="2499622"/>
              <a:ext cx="929640" cy="667139"/>
              <a:chOff x="-6040693" y="-3001588"/>
              <a:chExt cx="4340409" cy="3101009"/>
            </a:xfrm>
          </p:grpSpPr>
          <p:pic>
            <p:nvPicPr>
              <p:cNvPr id="5128" name="Picture 8" descr="http://www.ecsteam.com/wp-content/uploads/Java.png"/>
              <p:cNvPicPr>
                <a:picLocks noChangeAspect="1" noChangeArrowheads="1"/>
              </p:cNvPicPr>
              <p:nvPr/>
            </p:nvPicPr>
            <p:blipFill rotWithShape="1">
              <a:blip r:embed="rId12">
                <a:extLst>
                  <a:ext uri="{28A0092B-C50C-407E-A947-70E740481C1C}">
                    <a14:useLocalDpi xmlns:a14="http://schemas.microsoft.com/office/drawing/2010/main" val="0"/>
                  </a:ext>
                </a:extLst>
              </a:blip>
              <a:srcRect l="23912" t="4639" r="24250" b="32511"/>
              <a:stretch/>
            </p:blipFill>
            <p:spPr bwMode="auto">
              <a:xfrm>
                <a:off x="-6040693" y="-3001588"/>
                <a:ext cx="2557669" cy="310100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3483022" y="-1010844"/>
                <a:ext cx="1782738" cy="566204"/>
              </a:xfrm>
              <a:prstGeom prst="rect">
                <a:avLst/>
              </a:prstGeom>
              <a:noFill/>
            </p:spPr>
            <p:txBody>
              <a:bodyPr wrap="square" lIns="0" tIns="0" rIns="0" bIns="0" rtlCol="0">
                <a:noAutofit/>
              </a:bodyPr>
              <a:lstStyle/>
              <a:p>
                <a:pPr defTabSz="896386">
                  <a:lnSpc>
                    <a:spcPct val="90000"/>
                  </a:lnSpc>
                  <a:spcAft>
                    <a:spcPts val="588"/>
                  </a:spcAft>
                </a:pPr>
                <a:r>
                  <a:rPr lang="en-US" sz="980" kern="0" dirty="0">
                    <a:gradFill>
                      <a:gsLst>
                        <a:gs pos="2917">
                          <a:schemeClr val="tx1"/>
                        </a:gs>
                        <a:gs pos="30000">
                          <a:schemeClr val="tx1"/>
                        </a:gs>
                      </a:gsLst>
                      <a:lin ang="5400000" scaled="0"/>
                    </a:gradFill>
                    <a:latin typeface="Arial Black" panose="020B0A04020102020204" pitchFamily="34" charset="0"/>
                  </a:rPr>
                  <a:t>JDBC</a:t>
                </a:r>
              </a:p>
            </p:txBody>
          </p:sp>
        </p:grpSp>
      </p:grpSp>
      <p:sp>
        <p:nvSpPr>
          <p:cNvPr id="14" name="TextBox 13"/>
          <p:cNvSpPr txBox="1"/>
          <p:nvPr/>
        </p:nvSpPr>
        <p:spPr>
          <a:xfrm>
            <a:off x="457701" y="1582234"/>
            <a:ext cx="5640006" cy="537902"/>
          </a:xfrm>
          <a:prstGeom prst="rect">
            <a:avLst/>
          </a:prstGeom>
          <a:noFill/>
        </p:spPr>
        <p:txBody>
          <a:bodyPr wrap="square" lIns="179285" tIns="143428" rIns="179285" bIns="143428" rtlCol="0">
            <a:noAutofit/>
          </a:bodyPr>
          <a:lstStyle/>
          <a:p>
            <a:pPr algn="ctr" defTabSz="896386">
              <a:lnSpc>
                <a:spcPct val="90000"/>
              </a:lnSpc>
              <a:spcAft>
                <a:spcPts val="588"/>
              </a:spcAft>
            </a:pPr>
            <a:r>
              <a:rPr lang="en-US" sz="3529" kern="0" dirty="0">
                <a:solidFill>
                  <a:srgbClr val="CB3B22"/>
                </a:solidFill>
                <a:latin typeface="+mj-lt"/>
              </a:rPr>
              <a:t>Built-in</a:t>
            </a:r>
          </a:p>
        </p:txBody>
      </p:sp>
      <p:sp>
        <p:nvSpPr>
          <p:cNvPr id="71" name="TextBox 70"/>
          <p:cNvSpPr txBox="1"/>
          <p:nvPr/>
        </p:nvSpPr>
        <p:spPr>
          <a:xfrm>
            <a:off x="6093669" y="1582234"/>
            <a:ext cx="5640006" cy="537902"/>
          </a:xfrm>
          <a:prstGeom prst="rect">
            <a:avLst/>
          </a:prstGeom>
          <a:noFill/>
        </p:spPr>
        <p:txBody>
          <a:bodyPr wrap="square" lIns="179285" tIns="143428" rIns="179285" bIns="143428" rtlCol="0">
            <a:noAutofit/>
          </a:bodyPr>
          <a:lstStyle/>
          <a:p>
            <a:pPr algn="ctr" defTabSz="896386">
              <a:lnSpc>
                <a:spcPct val="90000"/>
              </a:lnSpc>
              <a:spcAft>
                <a:spcPts val="588"/>
              </a:spcAft>
            </a:pPr>
            <a:r>
              <a:rPr lang="en-US" sz="3529" kern="0" dirty="0">
                <a:solidFill>
                  <a:srgbClr val="CB3B22"/>
                </a:solidFill>
                <a:latin typeface="+mj-lt"/>
              </a:rPr>
              <a:t>External</a:t>
            </a:r>
          </a:p>
        </p:txBody>
      </p:sp>
      <p:grpSp>
        <p:nvGrpSpPr>
          <p:cNvPr id="5" name="Group 4"/>
          <p:cNvGrpSpPr/>
          <p:nvPr/>
        </p:nvGrpSpPr>
        <p:grpSpPr>
          <a:xfrm>
            <a:off x="7020569" y="2592038"/>
            <a:ext cx="4424198" cy="3761841"/>
            <a:chOff x="7161346" y="2643517"/>
            <a:chExt cx="4167054" cy="3543195"/>
          </a:xfrm>
        </p:grpSpPr>
        <p:pic>
          <p:nvPicPr>
            <p:cNvPr id="5160" name="Picture 40" descr="https://www.python.org/static/community_logos/python-logo-master-v3-TM.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600434" y="4834393"/>
              <a:ext cx="1204687" cy="406909"/>
            </a:xfrm>
            <a:prstGeom prst="rect">
              <a:avLst/>
            </a:prstGeom>
            <a:noFill/>
            <a:extLst>
              <a:ext uri="{909E8E84-426E-40DD-AFC4-6F175D3DCCD1}">
                <a14:hiddenFill xmlns:a14="http://schemas.microsoft.com/office/drawing/2010/main">
                  <a:solidFill>
                    <a:srgbClr val="FFFFFF"/>
                  </a:solidFill>
                </a14:hiddenFill>
              </a:ext>
            </a:extLst>
          </p:spPr>
        </p:pic>
        <p:pic>
          <p:nvPicPr>
            <p:cNvPr id="5140" name="Picture 20" descr="https://avro.apache.org/docs/1.2.0/images/avro-logo.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161346" y="2848426"/>
              <a:ext cx="914400" cy="284205"/>
            </a:xfrm>
            <a:prstGeom prst="rect">
              <a:avLst/>
            </a:prstGeom>
            <a:noFill/>
            <a:extLst>
              <a:ext uri="{909E8E84-426E-40DD-AFC4-6F175D3DCCD1}">
                <a14:hiddenFill xmlns:a14="http://schemas.microsoft.com/office/drawing/2010/main">
                  <a:solidFill>
                    <a:srgbClr val="FFFFFF"/>
                  </a:solidFill>
                </a14:hiddenFill>
              </a:ext>
            </a:extLst>
          </p:spPr>
        </p:pic>
        <p:pic>
          <p:nvPicPr>
            <p:cNvPr id="5142" name="Picture 22" descr="http://hbase.apache.org/0.94/images/hbase_logo.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161346" y="3901794"/>
              <a:ext cx="914400" cy="226032"/>
            </a:xfrm>
            <a:prstGeom prst="rect">
              <a:avLst/>
            </a:prstGeom>
            <a:noFill/>
            <a:extLst>
              <a:ext uri="{909E8E84-426E-40DD-AFC4-6F175D3DCCD1}">
                <a14:hiddenFill xmlns:a14="http://schemas.microsoft.com/office/drawing/2010/main">
                  <a:solidFill>
                    <a:srgbClr val="FFFFFF"/>
                  </a:solidFill>
                </a14:hiddenFill>
              </a:ext>
            </a:extLst>
          </p:spPr>
        </p:pic>
        <p:pic>
          <p:nvPicPr>
            <p:cNvPr id="5144" name="Picture 24" descr="https://raw.githubusercontent.com/ServiceStack/Assets/master/img/livedemos/techstacks/redshift-logo.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259446" y="4673600"/>
              <a:ext cx="718204" cy="809452"/>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p:cNvGrpSpPr/>
            <p:nvPr/>
          </p:nvGrpSpPr>
          <p:grpSpPr>
            <a:xfrm>
              <a:off x="8622216" y="2643517"/>
              <a:ext cx="565328" cy="727854"/>
              <a:chOff x="-3055938" y="-30956"/>
              <a:chExt cx="3521076" cy="4533350"/>
            </a:xfrm>
          </p:grpSpPr>
          <p:pic>
            <p:nvPicPr>
              <p:cNvPr id="5146" name="Picture 26" descr="http://www.upa.io/img/csv-logo.png"/>
              <p:cNvPicPr>
                <a:picLocks noChangeAspect="1" noChangeArrowheads="1"/>
              </p:cNvPicPr>
              <p:nvPr/>
            </p:nvPicPr>
            <p:blipFill rotWithShape="1">
              <a:blip r:embed="rId17">
                <a:extLst>
                  <a:ext uri="{28A0092B-C50C-407E-A947-70E740481C1C}">
                    <a14:useLocalDpi xmlns:a14="http://schemas.microsoft.com/office/drawing/2010/main" val="0"/>
                  </a:ext>
                </a:extLst>
              </a:blip>
              <a:srcRect l="14778" t="5202" r="15691" b="4687"/>
              <a:stretch/>
            </p:blipFill>
            <p:spPr bwMode="auto">
              <a:xfrm>
                <a:off x="-2925763" y="-30956"/>
                <a:ext cx="3390901" cy="4394571"/>
              </a:xfrm>
              <a:prstGeom prst="rect">
                <a:avLst/>
              </a:prstGeom>
              <a:noFill/>
              <a:extLst>
                <a:ext uri="{909E8E84-426E-40DD-AFC4-6F175D3DCCD1}">
                  <a14:hiddenFill xmlns:a14="http://schemas.microsoft.com/office/drawing/2010/main">
                    <a:solidFill>
                      <a:srgbClr val="FFFFFF"/>
                    </a:solidFill>
                  </a14:hiddenFill>
                </a:ext>
              </a:extLst>
            </p:spPr>
          </p:pic>
          <p:sp>
            <p:nvSpPr>
              <p:cNvPr id="10" name="Flowchart: Stored Data 9"/>
              <p:cNvSpPr/>
              <p:nvPr/>
            </p:nvSpPr>
            <p:spPr bwMode="auto">
              <a:xfrm rot="18628701">
                <a:off x="-3036888" y="4210294"/>
                <a:ext cx="273050" cy="311150"/>
              </a:xfrm>
              <a:prstGeom prst="flowChartOnlineStorag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11" name="Right Triangle 10"/>
              <p:cNvSpPr/>
              <p:nvPr/>
            </p:nvSpPr>
            <p:spPr bwMode="auto">
              <a:xfrm rot="10800000">
                <a:off x="-525462" y="-30956"/>
                <a:ext cx="990600" cy="990600"/>
              </a:xfrm>
              <a:prstGeom prst="r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pic>
          <p:nvPicPr>
            <p:cNvPr id="5148" name="Picture 28" descr="http://randyjensenonline.com/thoughts/wp-content/uploads/2015/03/elasticsearch.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470310" y="3894001"/>
              <a:ext cx="894667" cy="266412"/>
            </a:xfrm>
            <a:prstGeom prst="rect">
              <a:avLst/>
            </a:prstGeom>
            <a:noFill/>
            <a:extLst>
              <a:ext uri="{909E8E84-426E-40DD-AFC4-6F175D3DCCD1}">
                <a14:hiddenFill xmlns:a14="http://schemas.microsoft.com/office/drawing/2010/main">
                  <a:solidFill>
                    <a:srgbClr val="FFFFFF"/>
                  </a:solidFill>
                </a14:hiddenFill>
              </a:ext>
            </a:extLst>
          </p:spPr>
        </p:pic>
        <p:pic>
          <p:nvPicPr>
            <p:cNvPr id="5152" name="Picture 32" descr="https://upload.wikimedia.org/wikipedia/commons/thumb/5/5e/Cassandra_logo.svg/1280px-Cassandra_logo.svg.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456746" y="4752375"/>
              <a:ext cx="908231" cy="608799"/>
            </a:xfrm>
            <a:prstGeom prst="rect">
              <a:avLst/>
            </a:prstGeom>
            <a:noFill/>
            <a:extLst>
              <a:ext uri="{909E8E84-426E-40DD-AFC4-6F175D3DCCD1}">
                <a14:hiddenFill xmlns:a14="http://schemas.microsoft.com/office/drawing/2010/main">
                  <a:solidFill>
                    <a:srgbClr val="FFFFFF"/>
                  </a:solidFill>
                </a14:hiddenFill>
              </a:ext>
            </a:extLst>
          </p:spPr>
        </p:pic>
        <p:pic>
          <p:nvPicPr>
            <p:cNvPr id="5154" name="Picture 34" descr="http://ncredinburgh.com/img/blog/henry_coles/scala-logo.gif"/>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682597" y="2754778"/>
              <a:ext cx="1081858" cy="480447"/>
            </a:xfrm>
            <a:prstGeom prst="rect">
              <a:avLst/>
            </a:prstGeom>
            <a:noFill/>
            <a:extLst>
              <a:ext uri="{909E8E84-426E-40DD-AFC4-6F175D3DCCD1}">
                <a14:hiddenFill xmlns:a14="http://schemas.microsoft.com/office/drawing/2010/main">
                  <a:solidFill>
                    <a:srgbClr val="FFFFFF"/>
                  </a:solidFill>
                </a14:hiddenFill>
              </a:ext>
            </a:extLst>
          </p:spPr>
        </p:pic>
        <p:pic>
          <p:nvPicPr>
            <p:cNvPr id="5158" name="Picture 38" descr="http://howtolearn.me/wp-content/uploads/2014/05/java-logo.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745977" y="3740306"/>
              <a:ext cx="937155" cy="573419"/>
            </a:xfrm>
            <a:prstGeom prst="rect">
              <a:avLst/>
            </a:prstGeom>
            <a:noFill/>
            <a:extLst>
              <a:ext uri="{909E8E84-426E-40DD-AFC4-6F175D3DCCD1}">
                <a14:hiddenFill xmlns:a14="http://schemas.microsoft.com/office/drawing/2010/main">
                  <a:solidFill>
                    <a:srgbClr val="FFFFFF"/>
                  </a:solidFill>
                </a14:hiddenFill>
              </a:ext>
            </a:extLst>
          </p:spPr>
        </p:pic>
        <p:pic>
          <p:nvPicPr>
            <p:cNvPr id="5162" name="Picture 42" descr="https://upload.wikimedia.org/wikipedia/commons/thumb/8/81/DBase_logo.svg/571px-DBase_logo.svg.pn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19249" y="5772951"/>
              <a:ext cx="929552" cy="253958"/>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a:xfrm>
              <a:off x="9600434" y="5625585"/>
              <a:ext cx="1727966" cy="561127"/>
            </a:xfrm>
            <a:prstGeom prst="rect">
              <a:avLst/>
            </a:prstGeom>
            <a:noFill/>
          </p:spPr>
          <p:txBody>
            <a:bodyPr wrap="square" lIns="179285" tIns="143428" rIns="179285" bIns="143428" rtlCol="0">
              <a:noAutofit/>
            </a:bodyPr>
            <a:lstStyle/>
            <a:p>
              <a:pPr defTabSz="896386">
                <a:lnSpc>
                  <a:spcPct val="90000"/>
                </a:lnSpc>
                <a:spcAft>
                  <a:spcPts val="588"/>
                </a:spcAft>
              </a:pPr>
              <a:r>
                <a:rPr lang="en-US" sz="1765" kern="0" dirty="0">
                  <a:solidFill>
                    <a:schemeClr val="tx2"/>
                  </a:solidFill>
                </a:rPr>
                <a:t>And more…</a:t>
              </a:r>
            </a:p>
          </p:txBody>
        </p:sp>
      </p:grpSp>
      <p:cxnSp>
        <p:nvCxnSpPr>
          <p:cNvPr id="16" name="Straight Connector 15"/>
          <p:cNvCxnSpPr/>
          <p:nvPr/>
        </p:nvCxnSpPr>
        <p:spPr>
          <a:xfrm>
            <a:off x="6093669" y="2236773"/>
            <a:ext cx="0" cy="3672147"/>
          </a:xfrm>
          <a:prstGeom prst="line">
            <a:avLst/>
          </a:prstGeom>
          <a:ln w="254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28507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SQL</a:t>
            </a:r>
          </a:p>
        </p:txBody>
      </p:sp>
      <p:sp>
        <p:nvSpPr>
          <p:cNvPr id="4" name="TextBox 3"/>
          <p:cNvSpPr txBox="1"/>
          <p:nvPr/>
        </p:nvSpPr>
        <p:spPr>
          <a:xfrm>
            <a:off x="1" y="1187939"/>
            <a:ext cx="9083051" cy="579315"/>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1765" kern="0" dirty="0"/>
              <a:t>The entry point into all functionality in Spark SQL is the SQLContext class, or one of its descendants. To create a basic SQLContext, all you need is a SparkContext.</a:t>
            </a:r>
          </a:p>
        </p:txBody>
      </p:sp>
      <p:sp>
        <p:nvSpPr>
          <p:cNvPr id="6" name="TextBox 5"/>
          <p:cNvSpPr txBox="1"/>
          <p:nvPr/>
        </p:nvSpPr>
        <p:spPr>
          <a:xfrm>
            <a:off x="455994" y="2499138"/>
            <a:ext cx="10308885" cy="89311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latin typeface="Consolas" panose="020B0609020204030204" pitchFamily="49" charset="0"/>
              </a:rPr>
              <a:t> sc: </a:t>
            </a:r>
            <a:r>
              <a:rPr lang="en-US" sz="1372" kern="0" dirty="0">
                <a:solidFill>
                  <a:schemeClr val="accent4">
                    <a:lumMod val="75000"/>
                  </a:schemeClr>
                </a:solidFill>
                <a:latin typeface="Consolas" panose="020B0609020204030204" pitchFamily="49" charset="0"/>
              </a:rPr>
              <a:t>SparkContext</a:t>
            </a:r>
            <a:r>
              <a:rPr lang="en-US" sz="1372" kern="0" dirty="0">
                <a:latin typeface="Consolas" panose="020B0609020204030204" pitchFamily="49" charset="0"/>
              </a:rPr>
              <a:t> </a:t>
            </a:r>
            <a:r>
              <a:rPr lang="en-US" sz="1372" kern="0" dirty="0">
                <a:solidFill>
                  <a:schemeClr val="accent5">
                    <a:lumMod val="75000"/>
                  </a:schemeClr>
                </a:solidFill>
                <a:latin typeface="Consolas" panose="020B0609020204030204" pitchFamily="49" charset="0"/>
              </a:rPr>
              <a:t>// An existing SparkContext</a:t>
            </a:r>
            <a:r>
              <a:rPr lang="en-US" sz="1372" kern="0" dirty="0">
                <a:solidFill>
                  <a:schemeClr val="accent1"/>
                </a:solidFill>
                <a:latin typeface="Consolas" panose="020B0609020204030204" pitchFamily="49" charset="0"/>
              </a:rPr>
              <a:t>.</a:t>
            </a:r>
          </a:p>
          <a:p>
            <a:pPr marL="110472" lvl="1" indent="0" defTabSz="895769">
              <a:spcBef>
                <a:spcPts val="600"/>
              </a:spcBef>
              <a:spcAft>
                <a:spcPts val="588"/>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latin typeface="Consolas" panose="020B0609020204030204" pitchFamily="49" charset="0"/>
              </a:rPr>
              <a:t> sqlContext = </a:t>
            </a:r>
            <a:r>
              <a:rPr lang="en-US" sz="1372" kern="0" dirty="0">
                <a:solidFill>
                  <a:schemeClr val="accent2"/>
                </a:solidFill>
                <a:latin typeface="Consolas" panose="020B0609020204030204" pitchFamily="49" charset="0"/>
              </a:rPr>
              <a:t>new</a:t>
            </a:r>
            <a:r>
              <a:rPr lang="en-US" sz="1372" kern="0" dirty="0">
                <a:latin typeface="Consolas" panose="020B0609020204030204" pitchFamily="49" charset="0"/>
              </a:rPr>
              <a:t> org.apache.spark.sql.</a:t>
            </a:r>
            <a:r>
              <a:rPr lang="en-US" sz="1372" kern="0" dirty="0">
                <a:solidFill>
                  <a:schemeClr val="accent1">
                    <a:lumMod val="75000"/>
                  </a:schemeClr>
                </a:solidFill>
                <a:latin typeface="Consolas" panose="020B0609020204030204" pitchFamily="49" charset="0"/>
              </a:rPr>
              <a:t>SQLContext</a:t>
            </a:r>
            <a:r>
              <a:rPr lang="en-US" sz="1372" kern="0" dirty="0">
                <a:latin typeface="Consolas" panose="020B0609020204030204" pitchFamily="49" charset="0"/>
              </a:rPr>
              <a:t>(sc)</a:t>
            </a:r>
          </a:p>
        </p:txBody>
      </p:sp>
      <p:sp>
        <p:nvSpPr>
          <p:cNvPr id="7" name="TextBox 6"/>
          <p:cNvSpPr txBox="1"/>
          <p:nvPr/>
        </p:nvSpPr>
        <p:spPr>
          <a:xfrm>
            <a:off x="1" y="4277988"/>
            <a:ext cx="9709468" cy="2235792"/>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600"/>
              </a:spcBef>
              <a:spcAft>
                <a:spcPts val="1200"/>
              </a:spcAft>
              <a:buFont typeface="Arial" panose="020B0604020202020204" pitchFamily="34" charset="0"/>
              <a:buChar char="•"/>
              <a:tabLst>
                <a:tab pos="632806" algn="l"/>
              </a:tabLst>
            </a:pPr>
            <a:r>
              <a:rPr lang="en-US" sz="1765" kern="0" dirty="0"/>
              <a:t>You can also create HiveContext instead of SQLContext. HiveContext is only packaged separately to avoid including all Hive dependencies in the default Spark build.</a:t>
            </a:r>
          </a:p>
          <a:p>
            <a:pPr marL="547680" lvl="1" indent="-439364" defTabSz="895769">
              <a:spcBef>
                <a:spcPts val="600"/>
              </a:spcBef>
              <a:spcAft>
                <a:spcPts val="1200"/>
              </a:spcAft>
              <a:buFont typeface="Arial" panose="020B0604020202020204" pitchFamily="34" charset="0"/>
              <a:buChar char="•"/>
              <a:tabLst>
                <a:tab pos="632806" algn="l"/>
              </a:tabLst>
            </a:pPr>
            <a:r>
              <a:rPr lang="en-US" sz="1765" kern="0" dirty="0"/>
              <a:t>Spark SQL has been part of the core distribution since 1.0</a:t>
            </a:r>
          </a:p>
          <a:p>
            <a:pPr marL="547680" lvl="1" indent="-439364" defTabSz="895769">
              <a:spcBef>
                <a:spcPts val="600"/>
              </a:spcBef>
              <a:spcAft>
                <a:spcPts val="1200"/>
              </a:spcAft>
              <a:buFont typeface="Arial" panose="020B0604020202020204" pitchFamily="34" charset="0"/>
              <a:buChar char="•"/>
              <a:tabLst>
                <a:tab pos="632806" algn="l"/>
              </a:tabLst>
            </a:pPr>
            <a:r>
              <a:rPr lang="en-US" sz="1765" kern="0" dirty="0"/>
              <a:t>One of the most complex components, involving sophisticated code generation and intelligent compile time optimizations</a:t>
            </a:r>
          </a:p>
          <a:p>
            <a:pPr marL="108316" lvl="1" indent="0" defTabSz="895769">
              <a:spcBef>
                <a:spcPts val="600"/>
              </a:spcBef>
              <a:spcAft>
                <a:spcPts val="1200"/>
              </a:spcAft>
              <a:buNone/>
              <a:tabLst>
                <a:tab pos="632806" algn="l"/>
              </a:tabLst>
            </a:pPr>
            <a:endParaRPr lang="en-US" sz="1765" kern="0" dirty="0"/>
          </a:p>
        </p:txBody>
      </p:sp>
    </p:spTree>
    <p:extLst>
      <p:ext uri="{BB962C8B-B14F-4D97-AF65-F5344CB8AC3E}">
        <p14:creationId xmlns:p14="http://schemas.microsoft.com/office/powerpoint/2010/main" val="28194272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Kind of SQL Is This?</a:t>
            </a:r>
          </a:p>
        </p:txBody>
      </p:sp>
      <p:sp>
        <p:nvSpPr>
          <p:cNvPr id="3" name="Content Placeholder 2"/>
          <p:cNvSpPr>
            <a:spLocks noGrp="1"/>
          </p:cNvSpPr>
          <p:nvPr>
            <p:ph idx="1"/>
          </p:nvPr>
        </p:nvSpPr>
        <p:spPr>
          <a:xfrm>
            <a:off x="817266" y="1418168"/>
            <a:ext cx="10209125" cy="4737943"/>
          </a:xfrm>
        </p:spPr>
        <p:txBody>
          <a:bodyPr/>
          <a:lstStyle/>
          <a:p>
            <a:pPr>
              <a:spcBef>
                <a:spcPts val="1333"/>
              </a:spcBef>
            </a:pPr>
            <a:r>
              <a:rPr lang="en-US" sz="2400" dirty="0"/>
              <a:t>Spark SQL allows you to process distributed relational data with SQL queries. </a:t>
            </a:r>
          </a:p>
          <a:p>
            <a:pPr>
              <a:spcBef>
                <a:spcPts val="1333"/>
              </a:spcBef>
            </a:pPr>
            <a:r>
              <a:rPr lang="en-US" sz="2400" dirty="0"/>
              <a:t>It offers two different query languages:</a:t>
            </a:r>
          </a:p>
          <a:p>
            <a:pPr lvl="1">
              <a:spcBef>
                <a:spcPts val="1333"/>
              </a:spcBef>
            </a:pPr>
            <a:r>
              <a:rPr lang="en-US" dirty="0">
                <a:latin typeface="+mj-lt"/>
              </a:rPr>
              <a:t>Through the Spark </a:t>
            </a:r>
            <a:r>
              <a:rPr lang="en-US" dirty="0" err="1">
                <a:solidFill>
                  <a:srgbClr val="0070C0"/>
                </a:solidFill>
                <a:latin typeface="Consolas" panose="020B0609020204030204" pitchFamily="49" charset="0"/>
                <a:ea typeface="Consolas" charset="0"/>
                <a:cs typeface="Consolas" charset="0"/>
              </a:rPr>
              <a:t>SQLContext</a:t>
            </a:r>
            <a:r>
              <a:rPr lang="en-US" dirty="0">
                <a:latin typeface="+mj-lt"/>
              </a:rPr>
              <a:t>, the only supported dialect is “</a:t>
            </a:r>
            <a:r>
              <a:rPr lang="en-US" dirty="0" err="1">
                <a:latin typeface="Consolas" panose="020B0609020204030204" pitchFamily="49" charset="0"/>
              </a:rPr>
              <a:t>sql</a:t>
            </a:r>
            <a:r>
              <a:rPr lang="en-US" dirty="0">
                <a:latin typeface="+mj-lt"/>
              </a:rPr>
              <a:t>,” a rich subset of SQL 92.</a:t>
            </a:r>
          </a:p>
          <a:p>
            <a:pPr lvl="1">
              <a:spcBef>
                <a:spcPts val="1333"/>
              </a:spcBef>
            </a:pPr>
            <a:r>
              <a:rPr lang="en-US" dirty="0">
                <a:latin typeface="+mj-lt"/>
              </a:rPr>
              <a:t>Through the </a:t>
            </a:r>
            <a:r>
              <a:rPr lang="en-US" dirty="0" err="1">
                <a:solidFill>
                  <a:srgbClr val="0070C0"/>
                </a:solidFill>
                <a:latin typeface="Consolas" panose="020B0609020204030204" pitchFamily="49" charset="0"/>
                <a:ea typeface="Consolas" charset="0"/>
                <a:cs typeface="Consolas" charset="0"/>
              </a:rPr>
              <a:t>HiveContext</a:t>
            </a:r>
            <a:r>
              <a:rPr lang="en-US" dirty="0">
                <a:latin typeface="+mj-lt"/>
              </a:rPr>
              <a:t>, the default dialect is "</a:t>
            </a:r>
            <a:r>
              <a:rPr lang="en-US" dirty="0" err="1">
                <a:latin typeface="Consolas" panose="020B0609020204030204" pitchFamily="49" charset="0"/>
              </a:rPr>
              <a:t>hiveql</a:t>
            </a:r>
            <a:r>
              <a:rPr lang="en-US" dirty="0">
                <a:latin typeface="+mj-lt"/>
              </a:rPr>
              <a:t>", corresponding to Hive's SQL dialect. “</a:t>
            </a:r>
            <a:r>
              <a:rPr lang="en-US" dirty="0" err="1">
                <a:latin typeface="Consolas" panose="020B0609020204030204" pitchFamily="49" charset="0"/>
              </a:rPr>
              <a:t>sql</a:t>
            </a:r>
            <a:r>
              <a:rPr lang="en-US" dirty="0">
                <a:latin typeface="+mj-lt"/>
              </a:rPr>
              <a:t>” is also available, but “</a:t>
            </a:r>
            <a:r>
              <a:rPr lang="en-US" dirty="0" err="1">
                <a:latin typeface="Consolas" panose="020B0609020204030204" pitchFamily="49" charset="0"/>
              </a:rPr>
              <a:t>hiveql</a:t>
            </a:r>
            <a:r>
              <a:rPr lang="en-US" dirty="0">
                <a:latin typeface="+mj-lt"/>
              </a:rPr>
              <a:t>” is a richer dialect.</a:t>
            </a:r>
          </a:p>
        </p:txBody>
      </p:sp>
    </p:spTree>
    <p:extLst>
      <p:ext uri="{BB962C8B-B14F-4D97-AF65-F5344CB8AC3E}">
        <p14:creationId xmlns:p14="http://schemas.microsoft.com/office/powerpoint/2010/main" val="208910642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ude, Where’s my Table?</a:t>
            </a:r>
          </a:p>
        </p:txBody>
      </p:sp>
      <p:sp>
        <p:nvSpPr>
          <p:cNvPr id="3" name="Content Placeholder 2"/>
          <p:cNvSpPr>
            <a:spLocks noGrp="1"/>
          </p:cNvSpPr>
          <p:nvPr>
            <p:ph idx="1"/>
          </p:nvPr>
        </p:nvSpPr>
        <p:spPr>
          <a:xfrm>
            <a:off x="1152211" y="1418168"/>
            <a:ext cx="9391964" cy="4737943"/>
          </a:xfrm>
        </p:spPr>
        <p:txBody>
          <a:bodyPr>
            <a:normAutofit/>
          </a:bodyPr>
          <a:lstStyle/>
          <a:p>
            <a:pPr>
              <a:spcBef>
                <a:spcPts val="1333"/>
              </a:spcBef>
            </a:pPr>
            <a:r>
              <a:rPr lang="en-US" sz="2400" dirty="0"/>
              <a:t>You submit SQL queries through a </a:t>
            </a:r>
            <a:r>
              <a:rPr lang="en-US" sz="2400" dirty="0" err="1">
                <a:solidFill>
                  <a:srgbClr val="0070C0"/>
                </a:solidFill>
                <a:latin typeface="Consolas" charset="0"/>
                <a:ea typeface="Consolas" charset="0"/>
                <a:cs typeface="Consolas" charset="0"/>
              </a:rPr>
              <a:t>SQLContext</a:t>
            </a:r>
            <a:r>
              <a:rPr lang="en-US" sz="2400" dirty="0"/>
              <a:t> or </a:t>
            </a:r>
            <a:r>
              <a:rPr lang="en-US" sz="2400" dirty="0" err="1">
                <a:solidFill>
                  <a:srgbClr val="0070C0"/>
                </a:solidFill>
                <a:latin typeface="Consolas" charset="0"/>
                <a:ea typeface="Consolas" charset="0"/>
                <a:cs typeface="Consolas" charset="0"/>
              </a:rPr>
              <a:t>HiveContext</a:t>
            </a:r>
            <a:r>
              <a:rPr lang="en-US" sz="2400" dirty="0"/>
              <a:t>, using the </a:t>
            </a:r>
            <a:r>
              <a:rPr lang="en-US" sz="2400" dirty="0" err="1">
                <a:solidFill>
                  <a:srgbClr val="0070C0"/>
                </a:solidFill>
                <a:latin typeface="Consolas" charset="0"/>
                <a:ea typeface="Consolas" charset="0"/>
                <a:cs typeface="Consolas" charset="0"/>
              </a:rPr>
              <a:t>sql</a:t>
            </a:r>
            <a:r>
              <a:rPr lang="en-US" sz="2400" dirty="0">
                <a:solidFill>
                  <a:srgbClr val="0070C0"/>
                </a:solidFill>
                <a:latin typeface="Consolas" charset="0"/>
                <a:ea typeface="Consolas" charset="0"/>
                <a:cs typeface="Consolas" charset="0"/>
              </a:rPr>
              <a:t>()</a:t>
            </a:r>
            <a:r>
              <a:rPr lang="en-US" sz="2400" dirty="0"/>
              <a:t> method</a:t>
            </a:r>
          </a:p>
          <a:p>
            <a:pPr>
              <a:spcBef>
                <a:spcPts val="1333"/>
              </a:spcBef>
            </a:pPr>
            <a:r>
              <a:rPr lang="en-US" sz="2400" dirty="0"/>
              <a:t>The </a:t>
            </a:r>
            <a:r>
              <a:rPr lang="en-US" sz="2400" dirty="0" err="1">
                <a:solidFill>
                  <a:srgbClr val="0070C0"/>
                </a:solidFill>
                <a:latin typeface="Consolas" charset="0"/>
                <a:ea typeface="Consolas" charset="0"/>
                <a:cs typeface="Consolas" charset="0"/>
              </a:rPr>
              <a:t>sql</a:t>
            </a:r>
            <a:r>
              <a:rPr lang="en-US" sz="2400" dirty="0">
                <a:solidFill>
                  <a:srgbClr val="0070C0"/>
                </a:solidFill>
                <a:latin typeface="Consolas" charset="0"/>
                <a:ea typeface="Consolas" charset="0"/>
                <a:cs typeface="Consolas" charset="0"/>
              </a:rPr>
              <a:t>()</a:t>
            </a:r>
            <a:r>
              <a:rPr lang="en-US" sz="2400" dirty="0"/>
              <a:t> method returns a </a:t>
            </a:r>
            <a:r>
              <a:rPr lang="en-US" sz="2400" dirty="0" err="1">
                <a:solidFill>
                  <a:srgbClr val="0070C0"/>
                </a:solidFill>
                <a:latin typeface="Consolas" charset="0"/>
                <a:ea typeface="Consolas" charset="0"/>
                <a:cs typeface="Consolas" charset="0"/>
              </a:rPr>
              <a:t>DataFrame</a:t>
            </a:r>
            <a:endParaRPr lang="en-US" sz="833" dirty="0">
              <a:cs typeface="Consolas" charset="0"/>
            </a:endParaRPr>
          </a:p>
          <a:p>
            <a:pPr>
              <a:spcBef>
                <a:spcPts val="1333"/>
              </a:spcBef>
            </a:pPr>
            <a:r>
              <a:rPr lang="en-US" sz="2400" dirty="0"/>
              <a:t>As we will see in the R Labs, you can use a </a:t>
            </a:r>
            <a:r>
              <a:rPr lang="en-US" sz="2400" dirty="0">
                <a:latin typeface="Consolas" panose="020B0609020204030204" pitchFamily="49" charset="0"/>
              </a:rPr>
              <a:t>DBI</a:t>
            </a:r>
            <a:r>
              <a:rPr lang="en-US" sz="2400" dirty="0"/>
              <a:t> engine to submit SQL queries through a separate SQL interface</a:t>
            </a:r>
            <a:endParaRPr lang="en-US" sz="833" dirty="0"/>
          </a:p>
          <a:p>
            <a:pPr>
              <a:spcBef>
                <a:spcPts val="1333"/>
              </a:spcBef>
            </a:pPr>
            <a:r>
              <a:rPr lang="en-US" sz="2400" dirty="0"/>
              <a:t>You can mix DataFrame methods and SQL queries in the same code</a:t>
            </a:r>
          </a:p>
          <a:p>
            <a:pPr>
              <a:spcBef>
                <a:spcPts val="1333"/>
              </a:spcBef>
            </a:pPr>
            <a:r>
              <a:rPr lang="en-US" sz="2400" b="1" dirty="0"/>
              <a:t>To use SQL, you </a:t>
            </a:r>
            <a:r>
              <a:rPr lang="en-US" sz="2400" b="1" i="1" dirty="0"/>
              <a:t>must</a:t>
            </a:r>
            <a:r>
              <a:rPr lang="en-US" sz="2400" b="1" dirty="0"/>
              <a:t> either:</a:t>
            </a:r>
          </a:p>
          <a:p>
            <a:pPr lvl="1"/>
            <a:r>
              <a:rPr lang="en-US" sz="2400" dirty="0"/>
              <a:t>query a persisted Hive table, or</a:t>
            </a:r>
          </a:p>
          <a:p>
            <a:pPr lvl="1"/>
            <a:r>
              <a:rPr lang="en-US" sz="2400" dirty="0"/>
              <a:t>make a </a:t>
            </a:r>
            <a:r>
              <a:rPr lang="en-US" sz="2400" i="1" dirty="0"/>
              <a:t>table alias</a:t>
            </a:r>
            <a:r>
              <a:rPr lang="en-US" sz="2400" dirty="0"/>
              <a:t> for a DataFrame, using </a:t>
            </a:r>
            <a:r>
              <a:rPr lang="en-US" sz="2400" dirty="0" err="1">
                <a:solidFill>
                  <a:srgbClr val="0070C0"/>
                </a:solidFill>
                <a:latin typeface="Consolas" charset="0"/>
                <a:ea typeface="Consolas" charset="0"/>
                <a:cs typeface="Consolas" charset="0"/>
              </a:rPr>
              <a:t>registerTempTable</a:t>
            </a:r>
            <a:r>
              <a:rPr lang="en-US" sz="2400" dirty="0">
                <a:solidFill>
                  <a:srgbClr val="0070C0"/>
                </a:solidFill>
                <a:latin typeface="Consolas" charset="0"/>
                <a:ea typeface="Consolas" charset="0"/>
                <a:cs typeface="Consolas" charset="0"/>
              </a:rPr>
              <a:t>()</a:t>
            </a:r>
          </a:p>
        </p:txBody>
      </p:sp>
    </p:spTree>
    <p:extLst>
      <p:ext uri="{BB962C8B-B14F-4D97-AF65-F5344CB8AC3E}">
        <p14:creationId xmlns:p14="http://schemas.microsoft.com/office/powerpoint/2010/main" val="159052580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sz="4400" dirty="0" err="1"/>
              <a:t>DataFrames</a:t>
            </a:r>
            <a:r>
              <a:rPr lang="en-US" sz="4400" dirty="0"/>
              <a:t> API – The Preferred Data Abstraction</a:t>
            </a:r>
          </a:p>
        </p:txBody>
      </p:sp>
      <p:sp>
        <p:nvSpPr>
          <p:cNvPr id="4" name="TextBox 3"/>
          <p:cNvSpPr txBox="1"/>
          <p:nvPr/>
        </p:nvSpPr>
        <p:spPr>
          <a:xfrm>
            <a:off x="0" y="1189941"/>
            <a:ext cx="5924808" cy="4312078"/>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A distributed collection of data organized into named columns.</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Extension to existing RDD API, think of them as RDDs with a Schema</a:t>
            </a:r>
            <a:r>
              <a:rPr lang="en-US" sz="1961" i="1" kern="0" dirty="0">
                <a:latin typeface="+mj-lt"/>
              </a:rPr>
              <a:t> </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Conceptually equivalent to tables in relational database, or to </a:t>
            </a:r>
            <a:r>
              <a:rPr lang="en-US" sz="1961" kern="0" dirty="0" err="1">
                <a:latin typeface="+mj-lt"/>
              </a:rPr>
              <a:t>DataFrames</a:t>
            </a:r>
            <a:r>
              <a:rPr lang="en-US" sz="1961" kern="0" dirty="0">
                <a:latin typeface="+mj-lt"/>
              </a:rPr>
              <a:t> in R/Python. </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With domain-specific functions designed for common tasks: </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Metadata</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Sampling</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Project, filter, aggregation, and join</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UDFs</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RDD ML support deprecated in 2.0</a:t>
            </a:r>
            <a:endParaRPr lang="en-US" sz="1765" kern="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grpSp>
        <p:nvGrpSpPr>
          <p:cNvPr id="13" name="Group 12"/>
          <p:cNvGrpSpPr/>
          <p:nvPr/>
        </p:nvGrpSpPr>
        <p:grpSpPr>
          <a:xfrm>
            <a:off x="6240323" y="1261168"/>
            <a:ext cx="5140147" cy="1149242"/>
            <a:chOff x="6365454" y="1497473"/>
            <a:chExt cx="5243218" cy="1172287"/>
          </a:xfrm>
        </p:grpSpPr>
        <p:grpSp>
          <p:nvGrpSpPr>
            <p:cNvPr id="3" name="Group 2"/>
            <p:cNvGrpSpPr/>
            <p:nvPr/>
          </p:nvGrpSpPr>
          <p:grpSpPr>
            <a:xfrm>
              <a:off x="8722796" y="1497473"/>
              <a:ext cx="2885876" cy="1172287"/>
              <a:chOff x="8049696" y="1669850"/>
              <a:chExt cx="2885876" cy="1172287"/>
            </a:xfrm>
          </p:grpSpPr>
          <p:sp>
            <p:nvSpPr>
              <p:cNvPr id="5" name="Rounded Rectangle 4"/>
              <p:cNvSpPr/>
              <p:nvPr/>
            </p:nvSpPr>
            <p:spPr bwMode="auto">
              <a:xfrm>
                <a:off x="8049696" y="1669850"/>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6" name="Rounded Rectangle 5"/>
              <p:cNvSpPr/>
              <p:nvPr/>
            </p:nvSpPr>
            <p:spPr bwMode="auto">
              <a:xfrm>
                <a:off x="9035434" y="1670444"/>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7" name="Rounded Rectangle 6"/>
              <p:cNvSpPr/>
              <p:nvPr/>
            </p:nvSpPr>
            <p:spPr bwMode="auto">
              <a:xfrm>
                <a:off x="10021172" y="1669850"/>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8" name="Rounded Rectangle 7"/>
              <p:cNvSpPr/>
              <p:nvPr/>
            </p:nvSpPr>
            <p:spPr bwMode="auto">
              <a:xfrm>
                <a:off x="8049696" y="2290319"/>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 </a:t>
                </a:r>
              </a:p>
            </p:txBody>
          </p:sp>
          <p:sp>
            <p:nvSpPr>
              <p:cNvPr id="9" name="Rounded Rectangle 8"/>
              <p:cNvSpPr/>
              <p:nvPr/>
            </p:nvSpPr>
            <p:spPr bwMode="auto">
              <a:xfrm>
                <a:off x="9035434" y="2293494"/>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10" name="Rounded Rectangle 9"/>
              <p:cNvSpPr/>
              <p:nvPr/>
            </p:nvSpPr>
            <p:spPr bwMode="auto">
              <a:xfrm>
                <a:off x="10021172" y="2293497"/>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grpSp>
        <p:sp>
          <p:nvSpPr>
            <p:cNvPr id="54" name="TextBox 53"/>
            <p:cNvSpPr txBox="1"/>
            <p:nvPr/>
          </p:nvSpPr>
          <p:spPr>
            <a:xfrm>
              <a:off x="6365454" y="1497473"/>
              <a:ext cx="2286000" cy="1071062"/>
            </a:xfrm>
            <a:prstGeom prst="rect">
              <a:avLst/>
            </a:prstGeom>
            <a:solidFill>
              <a:schemeClr val="bg1">
                <a:lumMod val="95000"/>
              </a:schemeClr>
            </a:solidFill>
            <a:ln>
              <a:noFill/>
            </a:ln>
          </p:spPr>
          <p:txBody>
            <a:bodyPr wrap="square" lIns="0" tIns="89642" rIns="0" bIns="8964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568" kern="0" dirty="0">
                  <a:solidFill>
                    <a:schemeClr val="tx2"/>
                  </a:solidFill>
                </a:rPr>
                <a:t>RDDs are a collection of generic objects (such as internal structures unknown to Spark).</a:t>
              </a:r>
            </a:p>
          </p:txBody>
        </p:sp>
      </p:grpSp>
      <p:grpSp>
        <p:nvGrpSpPr>
          <p:cNvPr id="14" name="Group 13"/>
          <p:cNvGrpSpPr/>
          <p:nvPr/>
        </p:nvGrpSpPr>
        <p:grpSpPr>
          <a:xfrm>
            <a:off x="6240324" y="3429001"/>
            <a:ext cx="5140149" cy="2350687"/>
            <a:chOff x="6365455" y="2888885"/>
            <a:chExt cx="5243220" cy="2397823"/>
          </a:xfrm>
        </p:grpSpPr>
        <p:sp>
          <p:nvSpPr>
            <p:cNvPr id="55" name="TextBox 54"/>
            <p:cNvSpPr txBox="1"/>
            <p:nvPr/>
          </p:nvSpPr>
          <p:spPr>
            <a:xfrm>
              <a:off x="6365455" y="2888885"/>
              <a:ext cx="2286000" cy="1070783"/>
            </a:xfrm>
            <a:prstGeom prst="rect">
              <a:avLst/>
            </a:prstGeom>
            <a:solidFill>
              <a:schemeClr val="bg1">
                <a:lumMod val="95000"/>
              </a:schemeClr>
            </a:solidFill>
            <a:ln>
              <a:noFill/>
            </a:ln>
          </p:spPr>
          <p:txBody>
            <a:bodyPr wrap="square" lIns="0" tIns="89642" rIns="0" bIns="8964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568" kern="0" dirty="0">
                  <a:solidFill>
                    <a:schemeClr val="tx2"/>
                  </a:solidFill>
                </a:rPr>
                <a:t>DataFrames is a collection of objects with schema that are known to Spark SQL..</a:t>
              </a:r>
            </a:p>
          </p:txBody>
        </p:sp>
        <p:grpSp>
          <p:nvGrpSpPr>
            <p:cNvPr id="11" name="Group 10"/>
            <p:cNvGrpSpPr/>
            <p:nvPr/>
          </p:nvGrpSpPr>
          <p:grpSpPr>
            <a:xfrm>
              <a:off x="8722794" y="2888885"/>
              <a:ext cx="2885881" cy="1162748"/>
              <a:chOff x="8087794" y="2888885"/>
              <a:chExt cx="2885881" cy="1162748"/>
            </a:xfrm>
          </p:grpSpPr>
          <p:grpSp>
            <p:nvGrpSpPr>
              <p:cNvPr id="23" name="Group 22"/>
              <p:cNvGrpSpPr/>
              <p:nvPr/>
            </p:nvGrpSpPr>
            <p:grpSpPr>
              <a:xfrm>
                <a:off x="8087797" y="2888885"/>
                <a:ext cx="2885878" cy="548640"/>
                <a:chOff x="7902714" y="3292088"/>
                <a:chExt cx="2829547" cy="537931"/>
              </a:xfrm>
            </p:grpSpPr>
            <p:sp>
              <p:nvSpPr>
                <p:cNvPr id="24" name="Rectangle 23"/>
                <p:cNvSpPr/>
                <p:nvPr/>
              </p:nvSpPr>
              <p:spPr bwMode="auto">
                <a:xfrm>
                  <a:off x="7902714" y="3292088"/>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25" name="Rectangle 24"/>
                <p:cNvSpPr/>
                <p:nvPr/>
              </p:nvSpPr>
              <p:spPr bwMode="auto">
                <a:xfrm>
                  <a:off x="8869209" y="3292088"/>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26" name="Rectangle 25"/>
                <p:cNvSpPr/>
                <p:nvPr/>
              </p:nvSpPr>
              <p:spPr bwMode="auto">
                <a:xfrm>
                  <a:off x="9835709" y="3292088"/>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nvGrpSpPr>
              <p:cNvPr id="39" name="Group 38"/>
              <p:cNvGrpSpPr/>
              <p:nvPr/>
            </p:nvGrpSpPr>
            <p:grpSpPr>
              <a:xfrm>
                <a:off x="8087794" y="3502993"/>
                <a:ext cx="2885878" cy="548640"/>
                <a:chOff x="7902714" y="3285862"/>
                <a:chExt cx="2829547" cy="537931"/>
              </a:xfrm>
            </p:grpSpPr>
            <p:sp>
              <p:nvSpPr>
                <p:cNvPr id="53" name="Rectangle 52"/>
                <p:cNvSpPr/>
                <p:nvPr/>
              </p:nvSpPr>
              <p:spPr bwMode="auto">
                <a:xfrm>
                  <a:off x="7902714" y="3285862"/>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56" name="Rectangle 55"/>
                <p:cNvSpPr/>
                <p:nvPr/>
              </p:nvSpPr>
              <p:spPr bwMode="auto">
                <a:xfrm>
                  <a:off x="8869209" y="3285862"/>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57" name="Rectangle 56"/>
                <p:cNvSpPr/>
                <p:nvPr/>
              </p:nvSpPr>
              <p:spPr bwMode="auto">
                <a:xfrm>
                  <a:off x="9835709" y="3285862"/>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grpSp>
          <p:nvGrpSpPr>
            <p:cNvPr id="67" name="Group 66"/>
            <p:cNvGrpSpPr/>
            <p:nvPr/>
          </p:nvGrpSpPr>
          <p:grpSpPr>
            <a:xfrm>
              <a:off x="8722794" y="4123960"/>
              <a:ext cx="2885881" cy="1162748"/>
              <a:chOff x="8087794" y="2888885"/>
              <a:chExt cx="2885881" cy="1162748"/>
            </a:xfrm>
          </p:grpSpPr>
          <p:grpSp>
            <p:nvGrpSpPr>
              <p:cNvPr id="68" name="Group 67"/>
              <p:cNvGrpSpPr/>
              <p:nvPr/>
            </p:nvGrpSpPr>
            <p:grpSpPr>
              <a:xfrm>
                <a:off x="8087797" y="2888885"/>
                <a:ext cx="2885878" cy="548640"/>
                <a:chOff x="7902714" y="3292088"/>
                <a:chExt cx="2829547" cy="537931"/>
              </a:xfrm>
            </p:grpSpPr>
            <p:sp>
              <p:nvSpPr>
                <p:cNvPr id="73" name="Rectangle 72"/>
                <p:cNvSpPr/>
                <p:nvPr/>
              </p:nvSpPr>
              <p:spPr bwMode="auto">
                <a:xfrm>
                  <a:off x="7902714" y="3292088"/>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74" name="Rectangle 73"/>
                <p:cNvSpPr/>
                <p:nvPr/>
              </p:nvSpPr>
              <p:spPr bwMode="auto">
                <a:xfrm>
                  <a:off x="8869209" y="3292088"/>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75" name="Rectangle 74"/>
                <p:cNvSpPr/>
                <p:nvPr/>
              </p:nvSpPr>
              <p:spPr bwMode="auto">
                <a:xfrm>
                  <a:off x="9835709" y="3292088"/>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nvGrpSpPr>
              <p:cNvPr id="69" name="Group 68"/>
              <p:cNvGrpSpPr/>
              <p:nvPr/>
            </p:nvGrpSpPr>
            <p:grpSpPr>
              <a:xfrm>
                <a:off x="8087794" y="3502993"/>
                <a:ext cx="2885878" cy="548640"/>
                <a:chOff x="7902714" y="3285862"/>
                <a:chExt cx="2829547" cy="537931"/>
              </a:xfrm>
            </p:grpSpPr>
            <p:sp>
              <p:nvSpPr>
                <p:cNvPr id="70" name="Rectangle 69"/>
                <p:cNvSpPr/>
                <p:nvPr/>
              </p:nvSpPr>
              <p:spPr bwMode="auto">
                <a:xfrm>
                  <a:off x="7902714" y="3285862"/>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71" name="Rectangle 70"/>
                <p:cNvSpPr/>
                <p:nvPr/>
              </p:nvSpPr>
              <p:spPr bwMode="auto">
                <a:xfrm>
                  <a:off x="8869209" y="3285862"/>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72" name="Rectangle 71"/>
                <p:cNvSpPr/>
                <p:nvPr/>
              </p:nvSpPr>
              <p:spPr bwMode="auto">
                <a:xfrm>
                  <a:off x="9835709" y="3285862"/>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grpSp>
    </p:spTree>
    <p:extLst>
      <p:ext uri="{BB962C8B-B14F-4D97-AF65-F5344CB8AC3E}">
        <p14:creationId xmlns:p14="http://schemas.microsoft.com/office/powerpoint/2010/main" val="33604490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4"/>
          <p:cNvSpPr/>
          <p:nvPr/>
        </p:nvSpPr>
        <p:spPr>
          <a:xfrm>
            <a:off x="5943600" y="3006053"/>
            <a:ext cx="5879206" cy="155181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pic>
        <p:nvPicPr>
          <p:cNvPr id="12" name="Picture 11"/>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618727" y="967539"/>
            <a:ext cx="2252868" cy="533179"/>
          </a:xfrm>
          <a:prstGeom prst="rect">
            <a:avLst/>
          </a:prstGeom>
        </p:spPr>
      </p:pic>
      <p:sp>
        <p:nvSpPr>
          <p:cNvPr id="7" name="Rectangle 4"/>
          <p:cNvSpPr/>
          <p:nvPr/>
        </p:nvSpPr>
        <p:spPr>
          <a:xfrm>
            <a:off x="1416676" y="1354670"/>
            <a:ext cx="4679324" cy="539114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01371 w 8724954"/>
              <a:gd name="connsiteY5" fmla="*/ 2797246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608405 w 8724954"/>
              <a:gd name="connsiteY4" fmla="*/ 2986577 h 3060740"/>
              <a:gd name="connsiteX5" fmla="*/ 4301371 w 8724954"/>
              <a:gd name="connsiteY5" fmla="*/ 2797246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608405" y="2986577"/>
                </a:lnTo>
                <a:cubicBezTo>
                  <a:pt x="7164011" y="2981964"/>
                  <a:pt x="5745765" y="2801859"/>
                  <a:pt x="4301371" y="2797246"/>
                </a:cubicBezTo>
                <a:cubicBezTo>
                  <a:pt x="2841698" y="2920393"/>
                  <a:pt x="1459727" y="2937593"/>
                  <a:pt x="54" y="3060740"/>
                </a:cubicBez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141598" y="18104"/>
            <a:ext cx="11926713" cy="1143000"/>
          </a:xfrm>
        </p:spPr>
        <p:txBody>
          <a:bodyPr>
            <a:noAutofit/>
          </a:bodyPr>
          <a:lstStyle/>
          <a:p>
            <a:r>
              <a:rPr lang="en-US" dirty="0"/>
              <a:t>Write Less Code: Compute an Average</a:t>
            </a:r>
          </a:p>
        </p:txBody>
      </p:sp>
      <p:sp>
        <p:nvSpPr>
          <p:cNvPr id="6" name="TextBox 5"/>
          <p:cNvSpPr txBox="1"/>
          <p:nvPr/>
        </p:nvSpPr>
        <p:spPr>
          <a:xfrm>
            <a:off x="1660300" y="1583267"/>
            <a:ext cx="4283300" cy="4693589"/>
          </a:xfrm>
          <a:prstGeom prst="rect">
            <a:avLst/>
          </a:prstGeom>
          <a:solidFill>
            <a:schemeClr val="bg1"/>
          </a:solidFill>
          <a:ln w="3175">
            <a:solidFill>
              <a:schemeClr val="bg2">
                <a:lumMod val="90000"/>
              </a:schemeClr>
            </a:solidFill>
          </a:ln>
        </p:spPr>
        <p:txBody>
          <a:bodyPr wrap="square" lIns="121917" tIns="60958" rIns="121917" bIns="60958" rtlCol="0">
            <a:spAutoFit/>
          </a:bodyPr>
          <a:lstStyle/>
          <a:p>
            <a:r>
              <a:rPr lang="en-US" sz="1100" b="1" dirty="0">
                <a:solidFill>
                  <a:srgbClr val="7F0055"/>
                </a:solidFill>
                <a:latin typeface="Consolas" charset="0"/>
                <a:ea typeface="Consolas" charset="0"/>
                <a:cs typeface="Consolas" charset="0"/>
              </a:rPr>
              <a:t>private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 one =</a:t>
            </a:r>
            <a:r>
              <a:rPr lang="en-US" sz="1100" dirty="0">
                <a:latin typeface="Consolas" charset="0"/>
                <a:ea typeface="Consolas" charset="0"/>
                <a:cs typeface="Consolas" charset="0"/>
              </a:rPr>
              <a:t> </a:t>
            </a:r>
            <a:r>
              <a:rPr lang="en-US" sz="1100" b="1" dirty="0">
                <a:solidFill>
                  <a:srgbClr val="7F0055"/>
                </a:solidFill>
                <a:latin typeface="Consolas" charset="0"/>
                <a:ea typeface="Consolas" charset="0"/>
                <a:cs typeface="Consolas" charset="0"/>
              </a:rPr>
              <a:t>new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1);</a:t>
            </a:r>
          </a:p>
          <a:p>
            <a:r>
              <a:rPr lang="en-US" sz="1100" b="1" dirty="0">
                <a:solidFill>
                  <a:srgbClr val="7F0055"/>
                </a:solidFill>
                <a:latin typeface="Consolas" charset="0"/>
                <a:ea typeface="Consolas" charset="0"/>
                <a:cs typeface="Consolas" charset="0"/>
              </a:rPr>
              <a:t>private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 output </a:t>
            </a:r>
            <a:r>
              <a:rPr lang="en-US" sz="1100" b="1" dirty="0" smtClean="0">
                <a:solidFill>
                  <a:srgbClr val="000000"/>
                </a:solidFill>
                <a:latin typeface="Consolas" charset="0"/>
                <a:ea typeface="Consolas" charset="0"/>
                <a:cs typeface="Consolas" charset="0"/>
              </a:rPr>
              <a:t>= </a:t>
            </a:r>
            <a:r>
              <a:rPr lang="en-US" sz="1100" b="1" dirty="0" smtClean="0">
                <a:solidFill>
                  <a:srgbClr val="7F0055"/>
                </a:solidFill>
                <a:latin typeface="Consolas" charset="0"/>
                <a:ea typeface="Consolas" charset="0"/>
                <a:cs typeface="Consolas" charset="0"/>
              </a:rPr>
              <a:t>new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a:t>
            </a:r>
          </a:p>
          <a:p>
            <a:r>
              <a:rPr lang="en-US" sz="1100" b="1" dirty="0">
                <a:solidFill>
                  <a:srgbClr val="7F0055"/>
                </a:solidFill>
                <a:latin typeface="Consolas" charset="0"/>
                <a:ea typeface="Consolas" charset="0"/>
                <a:cs typeface="Consolas" charset="0"/>
              </a:rPr>
              <a:t>protected void </a:t>
            </a:r>
            <a:r>
              <a:rPr lang="en-US" sz="1100" b="1" dirty="0">
                <a:solidFill>
                  <a:srgbClr val="0000FF"/>
                </a:solidFill>
                <a:latin typeface="Consolas" charset="0"/>
                <a:ea typeface="Consolas" charset="0"/>
                <a:cs typeface="Consolas" charset="0"/>
              </a:rPr>
              <a:t>map(</a:t>
            </a:r>
            <a:r>
              <a:rPr lang="en-US" sz="1100" b="1" dirty="0" err="1">
                <a:solidFill>
                  <a:srgbClr val="000000"/>
                </a:solidFill>
                <a:latin typeface="Consolas" charset="0"/>
                <a:ea typeface="Consolas" charset="0"/>
                <a:cs typeface="Consolas" charset="0"/>
              </a:rPr>
              <a:t>LongWritable</a:t>
            </a:r>
            <a:r>
              <a:rPr lang="en-US" sz="1100" b="1" dirty="0">
                <a:solidFill>
                  <a:srgbClr val="000000"/>
                </a:solidFill>
                <a:latin typeface="Consolas" charset="0"/>
                <a:ea typeface="Consolas" charset="0"/>
                <a:cs typeface="Consolas" charset="0"/>
              </a:rPr>
              <a:t> key,</a:t>
            </a:r>
          </a:p>
          <a:p>
            <a:r>
              <a:rPr lang="fi-FI" sz="1100" dirty="0">
                <a:latin typeface="Consolas" charset="0"/>
                <a:ea typeface="Consolas" charset="0"/>
                <a:cs typeface="Consolas" charset="0"/>
              </a:rPr>
              <a:t>                   </a:t>
            </a:r>
            <a:r>
              <a:rPr lang="fi-FI" sz="1100" dirty="0" err="1">
                <a:solidFill>
                  <a:srgbClr val="000000"/>
                </a:solidFill>
                <a:latin typeface="Consolas" charset="0"/>
                <a:ea typeface="Consolas" charset="0"/>
                <a:cs typeface="Consolas" charset="0"/>
              </a:rPr>
              <a:t>Text</a:t>
            </a:r>
            <a:r>
              <a:rPr lang="fi-FI" sz="1100" dirty="0">
                <a:solidFill>
                  <a:srgbClr val="000000"/>
                </a:solidFill>
                <a:latin typeface="Consolas" charset="0"/>
                <a:ea typeface="Consolas" charset="0"/>
                <a:cs typeface="Consolas" charset="0"/>
              </a:rPr>
              <a:t> </a:t>
            </a:r>
            <a:r>
              <a:rPr lang="fi-FI" sz="1100" dirty="0" err="1">
                <a:solidFill>
                  <a:srgbClr val="000000"/>
                </a:solidFill>
                <a:latin typeface="Consolas" charset="0"/>
                <a:ea typeface="Consolas" charset="0"/>
                <a:cs typeface="Consolas" charset="0"/>
              </a:rPr>
              <a:t>value</a:t>
            </a:r>
            <a:r>
              <a:rPr lang="fi-FI" sz="1100" dirty="0">
                <a:solidFill>
                  <a:srgbClr val="000000"/>
                </a:solidFill>
                <a:latin typeface="Consolas" charset="0"/>
                <a:ea typeface="Consolas" charset="0"/>
                <a:cs typeface="Consolas" charset="0"/>
              </a:rPr>
              <a:t>,</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Context context) {</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String[] fields = </a:t>
            </a:r>
            <a:r>
              <a:rPr lang="en-US" sz="1100" dirty="0" err="1">
                <a:solidFill>
                  <a:srgbClr val="000000"/>
                </a:solidFill>
                <a:latin typeface="Consolas" charset="0"/>
                <a:ea typeface="Consolas" charset="0"/>
                <a:cs typeface="Consolas" charset="0"/>
              </a:rPr>
              <a:t>value.split</a:t>
            </a:r>
            <a:r>
              <a:rPr lang="en-US" sz="1100" dirty="0">
                <a:solidFill>
                  <a:srgbClr val="000000"/>
                </a:solidFill>
                <a:latin typeface="Consolas" charset="0"/>
                <a:ea typeface="Consolas" charset="0"/>
                <a:cs typeface="Consolas" charset="0"/>
              </a:rPr>
              <a:t>(</a:t>
            </a:r>
            <a:r>
              <a:rPr lang="en-US" sz="1100" dirty="0">
                <a:solidFill>
                  <a:srgbClr val="0000BB"/>
                </a:solidFill>
                <a:latin typeface="Consolas" charset="0"/>
                <a:ea typeface="Consolas" charset="0"/>
                <a:cs typeface="Consolas" charset="0"/>
              </a:rPr>
              <a:t>"\t");</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output.set</a:t>
            </a:r>
            <a:r>
              <a:rPr lang="en-US" sz="1100" dirty="0">
                <a:solidFill>
                  <a:srgbClr val="000000"/>
                </a:solidFill>
                <a:latin typeface="Consolas" charset="0"/>
                <a:ea typeface="Consolas" charset="0"/>
                <a:cs typeface="Consolas" charset="0"/>
              </a:rPr>
              <a:t>(</a:t>
            </a:r>
            <a:r>
              <a:rPr lang="en-US" sz="1100" dirty="0" err="1">
                <a:solidFill>
                  <a:srgbClr val="000000"/>
                </a:solidFill>
                <a:latin typeface="Consolas" charset="0"/>
                <a:ea typeface="Consolas" charset="0"/>
                <a:cs typeface="Consolas" charset="0"/>
              </a:rPr>
              <a:t>Integer.parseInt</a:t>
            </a:r>
            <a:r>
              <a:rPr lang="en-US" sz="1100" dirty="0">
                <a:solidFill>
                  <a:srgbClr val="000000"/>
                </a:solidFill>
                <a:latin typeface="Consolas" charset="0"/>
                <a:ea typeface="Consolas" charset="0"/>
                <a:cs typeface="Consolas" charset="0"/>
              </a:rPr>
              <a:t>(fields[1]));</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context.write</a:t>
            </a:r>
            <a:r>
              <a:rPr lang="en-US" sz="1100" dirty="0">
                <a:solidFill>
                  <a:srgbClr val="000000"/>
                </a:solidFill>
                <a:latin typeface="Consolas" charset="0"/>
                <a:ea typeface="Consolas" charset="0"/>
                <a:cs typeface="Consolas" charset="0"/>
              </a:rPr>
              <a:t>(one, output);</a:t>
            </a:r>
          </a:p>
          <a:p>
            <a:r>
              <a:rPr lang="en-US" sz="1100" dirty="0">
                <a:latin typeface="Consolas" charset="0"/>
                <a:ea typeface="Consolas" charset="0"/>
                <a:cs typeface="Consolas" charset="0"/>
              </a:rPr>
              <a:t>}</a:t>
            </a:r>
          </a:p>
          <a:p>
            <a:endParaRPr lang="en-US" sz="1100" dirty="0">
              <a:latin typeface="Consolas" charset="0"/>
              <a:ea typeface="Consolas" charset="0"/>
              <a:cs typeface="Consolas" charset="0"/>
            </a:endParaRPr>
          </a:p>
          <a:p>
            <a:r>
              <a:rPr lang="en-US" sz="1100" dirty="0">
                <a:latin typeface="Source Sans Pro" charset="0"/>
                <a:ea typeface="Source Sans Pro" charset="0"/>
                <a:cs typeface="Source Sans Pro" charset="0"/>
              </a:rPr>
              <a:t>----------------------------------------------------------------------------------</a:t>
            </a:r>
          </a:p>
          <a:p>
            <a:endParaRPr lang="en-US" sz="1100" dirty="0">
              <a:latin typeface="Consolas" charset="0"/>
              <a:ea typeface="Consolas" charset="0"/>
              <a:cs typeface="Consolas" charset="0"/>
            </a:endParaRPr>
          </a:p>
          <a:p>
            <a:r>
              <a:rPr lang="en-US" sz="1100" dirty="0" err="1">
                <a:solidFill>
                  <a:srgbClr val="000000"/>
                </a:solidFill>
                <a:latin typeface="Consolas" charset="0"/>
                <a:ea typeface="Consolas" charset="0"/>
                <a:cs typeface="Consolas" charset="0"/>
              </a:rPr>
              <a:t>IntWritable</a:t>
            </a:r>
            <a:r>
              <a:rPr lang="en-US" sz="1100" dirty="0">
                <a:solidFill>
                  <a:srgbClr val="000000"/>
                </a:solidFill>
                <a:latin typeface="Consolas" charset="0"/>
                <a:ea typeface="Consolas" charset="0"/>
                <a:cs typeface="Consolas" charset="0"/>
              </a:rPr>
              <a:t> one = </a:t>
            </a:r>
            <a:r>
              <a:rPr lang="en-US" sz="1100" b="1" dirty="0">
                <a:solidFill>
                  <a:srgbClr val="7F0055"/>
                </a:solidFill>
                <a:latin typeface="Consolas" charset="0"/>
                <a:ea typeface="Consolas" charset="0"/>
                <a:cs typeface="Consolas" charset="0"/>
              </a:rPr>
              <a:t>new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1)</a:t>
            </a:r>
          </a:p>
          <a:p>
            <a:r>
              <a:rPr lang="en-US" sz="1100" dirty="0" err="1">
                <a:solidFill>
                  <a:srgbClr val="000000"/>
                </a:solidFill>
                <a:latin typeface="Consolas" charset="0"/>
                <a:ea typeface="Consolas" charset="0"/>
                <a:cs typeface="Consolas" charset="0"/>
              </a:rPr>
              <a:t>DoubleWritable</a:t>
            </a:r>
            <a:r>
              <a:rPr lang="en-US" sz="1100" dirty="0">
                <a:solidFill>
                  <a:srgbClr val="000000"/>
                </a:solidFill>
                <a:latin typeface="Consolas" charset="0"/>
                <a:ea typeface="Consolas" charset="0"/>
                <a:cs typeface="Consolas" charset="0"/>
              </a:rPr>
              <a:t> average = </a:t>
            </a:r>
            <a:r>
              <a:rPr lang="en-US" sz="1100" b="1" dirty="0">
                <a:solidFill>
                  <a:srgbClr val="7F0055"/>
                </a:solidFill>
                <a:latin typeface="Consolas" charset="0"/>
                <a:ea typeface="Consolas" charset="0"/>
                <a:cs typeface="Consolas" charset="0"/>
              </a:rPr>
              <a:t>new </a:t>
            </a:r>
            <a:r>
              <a:rPr lang="en-US" sz="1100" b="1" dirty="0" err="1">
                <a:solidFill>
                  <a:srgbClr val="000000"/>
                </a:solidFill>
                <a:latin typeface="Consolas" charset="0"/>
                <a:ea typeface="Consolas" charset="0"/>
                <a:cs typeface="Consolas" charset="0"/>
              </a:rPr>
              <a:t>DoubleWritable</a:t>
            </a:r>
            <a:r>
              <a:rPr lang="en-US" sz="1100" b="1" dirty="0">
                <a:solidFill>
                  <a:srgbClr val="000000"/>
                </a:solidFill>
                <a:latin typeface="Consolas" charset="0"/>
                <a:ea typeface="Consolas" charset="0"/>
                <a:cs typeface="Consolas" charset="0"/>
              </a:rPr>
              <a:t>();</a:t>
            </a:r>
          </a:p>
          <a:p>
            <a:endParaRPr lang="en-US" sz="1100" dirty="0">
              <a:latin typeface="Consolas" charset="0"/>
              <a:ea typeface="Consolas" charset="0"/>
              <a:cs typeface="Consolas" charset="0"/>
            </a:endParaRPr>
          </a:p>
          <a:p>
            <a:r>
              <a:rPr lang="en-US" sz="1100" b="1" dirty="0">
                <a:solidFill>
                  <a:srgbClr val="7F0055"/>
                </a:solidFill>
                <a:latin typeface="Consolas" charset="0"/>
                <a:ea typeface="Consolas" charset="0"/>
                <a:cs typeface="Consolas" charset="0"/>
              </a:rPr>
              <a:t>protected void </a:t>
            </a:r>
            <a:r>
              <a:rPr lang="en-US" sz="1100" b="1" dirty="0">
                <a:solidFill>
                  <a:srgbClr val="0000FF"/>
                </a:solidFill>
                <a:latin typeface="Consolas" charset="0"/>
                <a:ea typeface="Consolas" charset="0"/>
                <a:cs typeface="Consolas" charset="0"/>
              </a:rPr>
              <a:t>reduce(</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 key,</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Iterable</a:t>
            </a:r>
            <a:r>
              <a:rPr lang="en-US" sz="1100" dirty="0">
                <a:solidFill>
                  <a:srgbClr val="000000"/>
                </a:solidFill>
                <a:latin typeface="Consolas" charset="0"/>
                <a:ea typeface="Consolas" charset="0"/>
                <a:cs typeface="Consolas" charset="0"/>
              </a:rPr>
              <a:t>&lt;</a:t>
            </a:r>
            <a:r>
              <a:rPr lang="en-US" sz="1100" dirty="0" err="1">
                <a:solidFill>
                  <a:srgbClr val="000000"/>
                </a:solidFill>
                <a:latin typeface="Consolas" charset="0"/>
                <a:ea typeface="Consolas" charset="0"/>
                <a:cs typeface="Consolas" charset="0"/>
              </a:rPr>
              <a:t>IntWritable</a:t>
            </a:r>
            <a:r>
              <a:rPr lang="en-US" sz="1100" dirty="0">
                <a:solidFill>
                  <a:srgbClr val="000000"/>
                </a:solidFill>
                <a:latin typeface="Consolas" charset="0"/>
                <a:ea typeface="Consolas" charset="0"/>
                <a:cs typeface="Consolas" charset="0"/>
              </a:rPr>
              <a:t>&gt; values,</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Context context) {</a:t>
            </a:r>
          </a:p>
          <a:p>
            <a:r>
              <a:rPr lang="en-US" sz="1100" dirty="0">
                <a:latin typeface="Consolas" charset="0"/>
                <a:ea typeface="Consolas" charset="0"/>
                <a:cs typeface="Consolas" charset="0"/>
              </a:rPr>
              <a:t>    </a:t>
            </a:r>
            <a:r>
              <a:rPr lang="en-US" sz="1100" b="1" dirty="0" err="1">
                <a:solidFill>
                  <a:srgbClr val="7F0055"/>
                </a:solidFill>
                <a:latin typeface="Consolas" charset="0"/>
                <a:ea typeface="Consolas" charset="0"/>
                <a:cs typeface="Consolas" charset="0"/>
              </a:rPr>
              <a:t>int</a:t>
            </a:r>
            <a:r>
              <a:rPr lang="en-US" sz="1100" b="1" dirty="0">
                <a:solidFill>
                  <a:srgbClr val="7F0055"/>
                </a:solidFill>
                <a:latin typeface="Consolas" charset="0"/>
                <a:ea typeface="Consolas" charset="0"/>
                <a:cs typeface="Consolas" charset="0"/>
              </a:rPr>
              <a:t> </a:t>
            </a:r>
            <a:r>
              <a:rPr lang="en-US" sz="1100" b="1" dirty="0">
                <a:solidFill>
                  <a:srgbClr val="000000"/>
                </a:solidFill>
                <a:latin typeface="Consolas" charset="0"/>
                <a:ea typeface="Consolas" charset="0"/>
                <a:cs typeface="Consolas" charset="0"/>
              </a:rPr>
              <a:t>sum = 0;</a:t>
            </a:r>
          </a:p>
          <a:p>
            <a:r>
              <a:rPr lang="en-US" sz="1100" dirty="0">
                <a:latin typeface="Consolas" charset="0"/>
                <a:ea typeface="Consolas" charset="0"/>
                <a:cs typeface="Consolas" charset="0"/>
              </a:rPr>
              <a:t>    </a:t>
            </a:r>
            <a:r>
              <a:rPr lang="en-US" sz="1100" b="1" dirty="0" err="1">
                <a:solidFill>
                  <a:srgbClr val="7F0055"/>
                </a:solidFill>
                <a:latin typeface="Consolas" charset="0"/>
                <a:ea typeface="Consolas" charset="0"/>
                <a:cs typeface="Consolas" charset="0"/>
              </a:rPr>
              <a:t>int</a:t>
            </a:r>
            <a:r>
              <a:rPr lang="en-US" sz="1100" b="1" dirty="0">
                <a:solidFill>
                  <a:srgbClr val="7F0055"/>
                </a:solidFill>
                <a:latin typeface="Consolas" charset="0"/>
                <a:ea typeface="Consolas" charset="0"/>
                <a:cs typeface="Consolas" charset="0"/>
              </a:rPr>
              <a:t> </a:t>
            </a:r>
            <a:r>
              <a:rPr lang="en-US" sz="1100" b="1" dirty="0">
                <a:solidFill>
                  <a:srgbClr val="000000"/>
                </a:solidFill>
                <a:latin typeface="Consolas" charset="0"/>
                <a:ea typeface="Consolas" charset="0"/>
                <a:cs typeface="Consolas" charset="0"/>
              </a:rPr>
              <a:t>count = 0;</a:t>
            </a:r>
          </a:p>
          <a:p>
            <a:r>
              <a:rPr lang="en-US" sz="1100" dirty="0">
                <a:latin typeface="Consolas" charset="0"/>
                <a:ea typeface="Consolas" charset="0"/>
                <a:cs typeface="Consolas" charset="0"/>
              </a:rPr>
              <a:t>    </a:t>
            </a:r>
            <a:r>
              <a:rPr lang="en-US" sz="1100" b="1" dirty="0">
                <a:solidFill>
                  <a:srgbClr val="7F0055"/>
                </a:solidFill>
                <a:latin typeface="Consolas" charset="0"/>
                <a:ea typeface="Consolas" charset="0"/>
                <a:cs typeface="Consolas" charset="0"/>
              </a:rPr>
              <a:t>for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 value: values) {</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sum += </a:t>
            </a:r>
            <a:r>
              <a:rPr lang="en-US" sz="1100" dirty="0" err="1">
                <a:solidFill>
                  <a:srgbClr val="000000"/>
                </a:solidFill>
                <a:latin typeface="Consolas" charset="0"/>
                <a:ea typeface="Consolas" charset="0"/>
                <a:cs typeface="Consolas" charset="0"/>
              </a:rPr>
              <a:t>value.get</a:t>
            </a:r>
            <a:r>
              <a:rPr lang="en-US" sz="1100" dirty="0">
                <a:solidFill>
                  <a:srgbClr val="000000"/>
                </a:solidFill>
                <a:latin typeface="Consolas" charset="0"/>
                <a:ea typeface="Consolas" charset="0"/>
                <a:cs typeface="Consolas" charset="0"/>
              </a:rPr>
              <a:t>();</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count++;</a:t>
            </a:r>
          </a:p>
          <a:p>
            <a:r>
              <a:rPr lang="en-US" sz="1100" dirty="0">
                <a:latin typeface="Consolas" charset="0"/>
                <a:ea typeface="Consolas" charset="0"/>
                <a:cs typeface="Consolas" charset="0"/>
              </a:rPr>
              <a:t>    }</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average.set</a:t>
            </a:r>
            <a:r>
              <a:rPr lang="en-US" sz="1100" dirty="0">
                <a:solidFill>
                  <a:srgbClr val="000000"/>
                </a:solidFill>
                <a:latin typeface="Consolas" charset="0"/>
                <a:ea typeface="Consolas" charset="0"/>
                <a:cs typeface="Consolas" charset="0"/>
              </a:rPr>
              <a:t>(sum / (</a:t>
            </a:r>
            <a:r>
              <a:rPr lang="en-US" sz="1100" b="1" dirty="0">
                <a:solidFill>
                  <a:srgbClr val="7F0055"/>
                </a:solidFill>
                <a:latin typeface="Consolas" charset="0"/>
                <a:ea typeface="Consolas" charset="0"/>
                <a:cs typeface="Consolas" charset="0"/>
              </a:rPr>
              <a:t>double) </a:t>
            </a:r>
            <a:r>
              <a:rPr lang="en-US" sz="1100" b="1" dirty="0">
                <a:solidFill>
                  <a:srgbClr val="000000"/>
                </a:solidFill>
                <a:latin typeface="Consolas" charset="0"/>
                <a:ea typeface="Consolas" charset="0"/>
                <a:cs typeface="Consolas" charset="0"/>
              </a:rPr>
              <a:t>count);</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context.write</a:t>
            </a:r>
            <a:r>
              <a:rPr lang="en-US" sz="1100" dirty="0">
                <a:solidFill>
                  <a:srgbClr val="000000"/>
                </a:solidFill>
                <a:latin typeface="Consolas" charset="0"/>
                <a:ea typeface="Consolas" charset="0"/>
                <a:cs typeface="Consolas" charset="0"/>
              </a:rPr>
              <a:t>(key, average);</a:t>
            </a:r>
          </a:p>
          <a:p>
            <a:r>
              <a:rPr lang="en-US" sz="1100" dirty="0">
                <a:latin typeface="Consolas" charset="0"/>
                <a:ea typeface="Consolas" charset="0"/>
                <a:cs typeface="Consolas" charset="0"/>
              </a:rPr>
              <a:t>}</a:t>
            </a:r>
          </a:p>
        </p:txBody>
      </p:sp>
      <p:sp>
        <p:nvSpPr>
          <p:cNvPr id="8" name="Rectangle 4"/>
          <p:cNvSpPr/>
          <p:nvPr/>
        </p:nvSpPr>
        <p:spPr>
          <a:xfrm>
            <a:off x="5943600" y="1371685"/>
            <a:ext cx="5650484" cy="155181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9" name="TextBox 8"/>
          <p:cNvSpPr txBox="1"/>
          <p:nvPr/>
        </p:nvSpPr>
        <p:spPr>
          <a:xfrm>
            <a:off x="6226628" y="1600283"/>
            <a:ext cx="5103615" cy="1308046"/>
          </a:xfrm>
          <a:prstGeom prst="rect">
            <a:avLst/>
          </a:prstGeom>
          <a:solidFill>
            <a:schemeClr val="bg1"/>
          </a:solidFill>
          <a:ln w="3175">
            <a:solidFill>
              <a:schemeClr val="bg2">
                <a:lumMod val="90000"/>
              </a:schemeClr>
            </a:solidFill>
          </a:ln>
        </p:spPr>
        <p:txBody>
          <a:bodyPr wrap="square" lIns="121917" tIns="60958" rIns="121917" bIns="60958" rtlCol="0">
            <a:spAutoFit/>
          </a:bodyPr>
          <a:lstStyle/>
          <a:p>
            <a:r>
              <a:rPr lang="is-IS" sz="1100" dirty="0" smtClean="0">
                <a:solidFill>
                  <a:srgbClr val="000000"/>
                </a:solidFill>
                <a:latin typeface="Consolas" charset="0"/>
                <a:ea typeface="Consolas" charset="0"/>
                <a:cs typeface="Consolas" charset="0"/>
              </a:rPr>
              <a:t>rdd = sc.textFile(...).map(_.split(" "))</a:t>
            </a:r>
          </a:p>
          <a:p>
            <a:r>
              <a:rPr lang="is-IS" sz="1100" dirty="0" smtClean="0">
                <a:solidFill>
                  <a:srgbClr val="000000"/>
                </a:solidFill>
                <a:latin typeface="Consolas" charset="0"/>
                <a:ea typeface="Consolas" charset="0"/>
                <a:cs typeface="Consolas" charset="0"/>
              </a:rPr>
              <a:t>rdd.map { </a:t>
            </a:r>
            <a:r>
              <a:rPr lang="is-IS" sz="1100" dirty="0">
                <a:solidFill>
                  <a:srgbClr val="000000"/>
                </a:solidFill>
                <a:latin typeface="Consolas" charset="0"/>
                <a:ea typeface="Consolas" charset="0"/>
                <a:cs typeface="Consolas" charset="0"/>
              </a:rPr>
              <a:t>x </a:t>
            </a:r>
            <a:r>
              <a:rPr lang="is-IS" sz="1100" b="1" dirty="0">
                <a:solidFill>
                  <a:srgbClr val="7F0055"/>
                </a:solidFill>
                <a:latin typeface="Consolas" charset="0"/>
                <a:ea typeface="Consolas" charset="0"/>
                <a:cs typeface="Consolas" charset="0"/>
              </a:rPr>
              <a:t>=&gt; (</a:t>
            </a:r>
            <a:r>
              <a:rPr lang="is-IS" sz="1100" b="1" dirty="0">
                <a:solidFill>
                  <a:srgbClr val="000000"/>
                </a:solidFill>
                <a:latin typeface="Consolas" charset="0"/>
                <a:ea typeface="Consolas" charset="0"/>
                <a:cs typeface="Consolas" charset="0"/>
              </a:rPr>
              <a:t>x(0), (x(1).toFloat, 1)) }.</a:t>
            </a:r>
          </a:p>
          <a:p>
            <a:r>
              <a:rPr lang="en-US" sz="1100" dirty="0" smtClean="0">
                <a:solidFill>
                  <a:srgbClr val="000000"/>
                </a:solidFill>
                <a:latin typeface="Consolas" charset="0"/>
                <a:ea typeface="Consolas" charset="0"/>
                <a:cs typeface="Consolas" charset="0"/>
              </a:rPr>
              <a:t>    </a:t>
            </a:r>
            <a:r>
              <a:rPr lang="en-US" sz="1100" dirty="0" err="1" smtClean="0">
                <a:solidFill>
                  <a:srgbClr val="000000"/>
                </a:solidFill>
                <a:latin typeface="Consolas" charset="0"/>
                <a:ea typeface="Consolas" charset="0"/>
                <a:cs typeface="Consolas" charset="0"/>
              </a:rPr>
              <a:t>reduceByKey</a:t>
            </a:r>
            <a:r>
              <a:rPr lang="en-US" sz="1100" dirty="0" smtClean="0">
                <a:solidFill>
                  <a:srgbClr val="000000"/>
                </a:solidFill>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 </a:t>
            </a:r>
            <a:r>
              <a:rPr lang="en-US" sz="1100" b="1" dirty="0">
                <a:solidFill>
                  <a:srgbClr val="7F0055"/>
                </a:solidFill>
                <a:latin typeface="Consolas" charset="0"/>
                <a:ea typeface="Consolas" charset="0"/>
                <a:cs typeface="Consolas" charset="0"/>
              </a:rPr>
              <a:t>case ((</a:t>
            </a:r>
            <a:r>
              <a:rPr lang="en-US" sz="1100" b="1" dirty="0">
                <a:solidFill>
                  <a:srgbClr val="000000"/>
                </a:solidFill>
                <a:latin typeface="Consolas" charset="0"/>
                <a:ea typeface="Consolas" charset="0"/>
                <a:cs typeface="Consolas" charset="0"/>
              </a:rPr>
              <a:t>num1, count1), (num2, count2)) </a:t>
            </a:r>
            <a:r>
              <a:rPr lang="en-US" sz="1100" b="1" dirty="0">
                <a:solidFill>
                  <a:srgbClr val="7F0055"/>
                </a:solidFill>
                <a:latin typeface="Consolas" charset="0"/>
                <a:ea typeface="Consolas" charset="0"/>
                <a:cs typeface="Consolas" charset="0"/>
              </a:rPr>
              <a:t>=&gt; </a:t>
            </a:r>
          </a:p>
          <a:p>
            <a:r>
              <a:rPr lang="en-US" sz="1100" dirty="0" smtClean="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num1 + num2, count1 + count2) </a:t>
            </a:r>
          </a:p>
          <a:p>
            <a:r>
              <a:rPr lang="de-DE" sz="1100" dirty="0" smtClean="0">
                <a:latin typeface="Consolas" charset="0"/>
                <a:ea typeface="Consolas" charset="0"/>
                <a:cs typeface="Consolas" charset="0"/>
              </a:rPr>
              <a:t>    }.</a:t>
            </a:r>
            <a:endParaRPr lang="de-DE" sz="1100" dirty="0">
              <a:latin typeface="Consolas" charset="0"/>
              <a:ea typeface="Consolas" charset="0"/>
              <a:cs typeface="Consolas" charset="0"/>
            </a:endParaRPr>
          </a:p>
          <a:p>
            <a:r>
              <a:rPr lang="en-US" sz="1100" dirty="0" smtClean="0">
                <a:solidFill>
                  <a:srgbClr val="000000"/>
                </a:solidFill>
                <a:latin typeface="Consolas" charset="0"/>
                <a:ea typeface="Consolas" charset="0"/>
                <a:cs typeface="Consolas" charset="0"/>
              </a:rPr>
              <a:t>    map </a:t>
            </a:r>
            <a:r>
              <a:rPr lang="en-US" sz="1100" dirty="0">
                <a:solidFill>
                  <a:srgbClr val="000000"/>
                </a:solidFill>
                <a:latin typeface="Consolas" charset="0"/>
                <a:ea typeface="Consolas" charset="0"/>
                <a:cs typeface="Consolas" charset="0"/>
              </a:rPr>
              <a:t>{ </a:t>
            </a:r>
            <a:r>
              <a:rPr lang="en-US" sz="1100" b="1" dirty="0">
                <a:solidFill>
                  <a:srgbClr val="7F0055"/>
                </a:solidFill>
                <a:latin typeface="Consolas" charset="0"/>
                <a:ea typeface="Consolas" charset="0"/>
                <a:cs typeface="Consolas" charset="0"/>
              </a:rPr>
              <a:t>case (</a:t>
            </a:r>
            <a:r>
              <a:rPr lang="en-US" sz="1100" b="1" dirty="0">
                <a:solidFill>
                  <a:srgbClr val="000000"/>
                </a:solidFill>
                <a:latin typeface="Consolas" charset="0"/>
                <a:ea typeface="Consolas" charset="0"/>
                <a:cs typeface="Consolas" charset="0"/>
              </a:rPr>
              <a:t>key, (</a:t>
            </a:r>
            <a:r>
              <a:rPr lang="en-US" sz="1100" b="1" dirty="0" err="1">
                <a:solidFill>
                  <a:srgbClr val="000000"/>
                </a:solidFill>
                <a:latin typeface="Consolas" charset="0"/>
                <a:ea typeface="Consolas" charset="0"/>
                <a:cs typeface="Consolas" charset="0"/>
              </a:rPr>
              <a:t>num</a:t>
            </a:r>
            <a:r>
              <a:rPr lang="en-US" sz="1100" b="1" dirty="0">
                <a:solidFill>
                  <a:srgbClr val="000000"/>
                </a:solidFill>
                <a:latin typeface="Consolas" charset="0"/>
                <a:ea typeface="Consolas" charset="0"/>
                <a:cs typeface="Consolas" charset="0"/>
              </a:rPr>
              <a:t>, count)) </a:t>
            </a:r>
            <a:r>
              <a:rPr lang="en-US" sz="1100" b="1" dirty="0">
                <a:solidFill>
                  <a:srgbClr val="7F0055"/>
                </a:solidFill>
                <a:latin typeface="Consolas" charset="0"/>
                <a:ea typeface="Consolas" charset="0"/>
                <a:cs typeface="Consolas" charset="0"/>
              </a:rPr>
              <a:t>=&gt; (</a:t>
            </a:r>
            <a:r>
              <a:rPr lang="en-US" sz="1100" b="1" dirty="0">
                <a:solidFill>
                  <a:srgbClr val="000000"/>
                </a:solidFill>
                <a:latin typeface="Consolas" charset="0"/>
                <a:ea typeface="Consolas" charset="0"/>
                <a:cs typeface="Consolas" charset="0"/>
              </a:rPr>
              <a:t>key, </a:t>
            </a:r>
            <a:r>
              <a:rPr lang="en-US" sz="1100" b="1" dirty="0" err="1">
                <a:solidFill>
                  <a:srgbClr val="000000"/>
                </a:solidFill>
                <a:latin typeface="Consolas" charset="0"/>
                <a:ea typeface="Consolas" charset="0"/>
                <a:cs typeface="Consolas" charset="0"/>
              </a:rPr>
              <a:t>num</a:t>
            </a:r>
            <a:r>
              <a:rPr lang="en-US" sz="1100" b="1" dirty="0">
                <a:solidFill>
                  <a:srgbClr val="000000"/>
                </a:solidFill>
                <a:latin typeface="Consolas" charset="0"/>
                <a:ea typeface="Consolas" charset="0"/>
                <a:cs typeface="Consolas" charset="0"/>
              </a:rPr>
              <a:t> / count) }.</a:t>
            </a:r>
          </a:p>
          <a:p>
            <a:r>
              <a:rPr lang="ro-RO" sz="1100" dirty="0" smtClean="0">
                <a:solidFill>
                  <a:srgbClr val="000000"/>
                </a:solidFill>
                <a:latin typeface="Consolas" charset="0"/>
                <a:ea typeface="Consolas" charset="0"/>
                <a:cs typeface="Consolas" charset="0"/>
              </a:rPr>
              <a:t>    </a:t>
            </a:r>
            <a:r>
              <a:rPr lang="ro-RO" sz="1100" dirty="0" err="1" smtClean="0">
                <a:solidFill>
                  <a:srgbClr val="000000"/>
                </a:solidFill>
                <a:latin typeface="Consolas" charset="0"/>
                <a:ea typeface="Consolas" charset="0"/>
                <a:cs typeface="Consolas" charset="0"/>
              </a:rPr>
              <a:t>collect</a:t>
            </a:r>
            <a:r>
              <a:rPr lang="ro-RO" sz="1100" dirty="0">
                <a:solidFill>
                  <a:srgbClr val="000000"/>
                </a:solidFill>
                <a:latin typeface="Consolas" charset="0"/>
                <a:ea typeface="Consolas" charset="0"/>
                <a:cs typeface="Consolas" charset="0"/>
              </a:rPr>
              <a:t>()</a:t>
            </a:r>
          </a:p>
        </p:txBody>
      </p:sp>
      <p:pic>
        <p:nvPicPr>
          <p:cNvPr id="11" name="Picture 10"/>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266274" y="828957"/>
            <a:ext cx="1420527" cy="754311"/>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040293" y="1663572"/>
            <a:ext cx="190084" cy="280004"/>
          </a:xfrm>
          <a:prstGeom prst="rect">
            <a:avLst/>
          </a:prstGeom>
        </p:spPr>
      </p:pic>
      <p:sp>
        <p:nvSpPr>
          <p:cNvPr id="14" name="TextBox 13"/>
          <p:cNvSpPr txBox="1"/>
          <p:nvPr/>
        </p:nvSpPr>
        <p:spPr>
          <a:xfrm>
            <a:off x="6226627" y="3234651"/>
            <a:ext cx="5402995" cy="969492"/>
          </a:xfrm>
          <a:prstGeom prst="rect">
            <a:avLst/>
          </a:prstGeom>
          <a:solidFill>
            <a:schemeClr val="bg1"/>
          </a:solidFill>
          <a:ln w="3175">
            <a:solidFill>
              <a:schemeClr val="bg2">
                <a:lumMod val="90000"/>
              </a:schemeClr>
            </a:solidFill>
          </a:ln>
        </p:spPr>
        <p:txBody>
          <a:bodyPr wrap="square" lIns="121917" tIns="60958" rIns="121917" bIns="60958" rtlCol="0">
            <a:spAutoFit/>
          </a:bodyPr>
          <a:lstStyle/>
          <a:p>
            <a:r>
              <a:rPr lang="en-US" sz="1100" b="1" dirty="0" err="1" smtClean="0">
                <a:solidFill>
                  <a:srgbClr val="000000"/>
                </a:solidFill>
                <a:latin typeface="Consolas" charset="0"/>
                <a:ea typeface="Consolas" charset="0"/>
                <a:cs typeface="Consolas" charset="0"/>
              </a:rPr>
              <a:t>rdd</a:t>
            </a:r>
            <a:r>
              <a:rPr lang="en-US" sz="1100" b="1" dirty="0" smtClean="0">
                <a:solidFill>
                  <a:srgbClr val="000000"/>
                </a:solidFill>
                <a:latin typeface="Consolas" charset="0"/>
                <a:ea typeface="Consolas" charset="0"/>
                <a:cs typeface="Consolas" charset="0"/>
              </a:rPr>
              <a:t> </a:t>
            </a:r>
            <a:r>
              <a:rPr lang="en-US" sz="1100" b="1" dirty="0" smtClean="0">
                <a:solidFill>
                  <a:srgbClr val="7F0055"/>
                </a:solidFill>
                <a:latin typeface="Consolas" charset="0"/>
                <a:ea typeface="Consolas" charset="0"/>
                <a:cs typeface="Consolas" charset="0"/>
              </a:rPr>
              <a:t>= </a:t>
            </a:r>
            <a:r>
              <a:rPr lang="en-US" sz="1100" b="1" dirty="0" err="1">
                <a:solidFill>
                  <a:srgbClr val="000000"/>
                </a:solidFill>
                <a:latin typeface="Consolas" charset="0"/>
                <a:ea typeface="Consolas" charset="0"/>
                <a:cs typeface="Consolas" charset="0"/>
              </a:rPr>
              <a:t>sc.textFile</a:t>
            </a:r>
            <a:r>
              <a:rPr lang="en-US" sz="1100" b="1" dirty="0">
                <a:solidFill>
                  <a:srgbClr val="000000"/>
                </a:solidFill>
                <a:latin typeface="Consolas" charset="0"/>
                <a:ea typeface="Consolas" charset="0"/>
                <a:cs typeface="Consolas" charset="0"/>
              </a:rPr>
              <a:t>(...).</a:t>
            </a:r>
            <a:r>
              <a:rPr lang="en-US" sz="1100" b="1" dirty="0" smtClean="0">
                <a:solidFill>
                  <a:srgbClr val="000000"/>
                </a:solidFill>
                <a:latin typeface="Consolas" charset="0"/>
                <a:ea typeface="Consolas" charset="0"/>
                <a:cs typeface="Consolas" charset="0"/>
              </a:rPr>
              <a:t>map(</a:t>
            </a:r>
            <a:r>
              <a:rPr lang="pt-BR" sz="1100" b="1" dirty="0">
                <a:solidFill>
                  <a:srgbClr val="7F0055"/>
                </a:solidFill>
                <a:latin typeface="Consolas" charset="0"/>
                <a:ea typeface="Consolas" charset="0"/>
                <a:cs typeface="Consolas" charset="0"/>
              </a:rPr>
              <a:t>lambda</a:t>
            </a:r>
            <a:r>
              <a:rPr lang="en-US" sz="1100" b="1" dirty="0" smtClean="0">
                <a:solidFill>
                  <a:srgbClr val="000000"/>
                </a:solidFill>
                <a:latin typeface="Consolas" charset="0"/>
                <a:ea typeface="Consolas" charset="0"/>
                <a:cs typeface="Consolas" charset="0"/>
              </a:rPr>
              <a:t> s: </a:t>
            </a:r>
            <a:r>
              <a:rPr lang="en-US" sz="1100" b="1" dirty="0" err="1" smtClean="0">
                <a:solidFill>
                  <a:srgbClr val="000000"/>
                </a:solidFill>
                <a:latin typeface="Consolas" charset="0"/>
                <a:ea typeface="Consolas" charset="0"/>
                <a:cs typeface="Consolas" charset="0"/>
              </a:rPr>
              <a:t>s.split</a:t>
            </a:r>
            <a:r>
              <a:rPr lang="en-US" sz="1100" b="1" dirty="0" smtClean="0">
                <a:solidFill>
                  <a:srgbClr val="000000"/>
                </a:solidFill>
                <a:latin typeface="Consolas" charset="0"/>
                <a:ea typeface="Consolas" charset="0"/>
                <a:cs typeface="Consolas" charset="0"/>
              </a:rPr>
              <a:t>())</a:t>
            </a:r>
            <a:endParaRPr lang="en-US" sz="1100" b="1" dirty="0">
              <a:solidFill>
                <a:srgbClr val="0000BB"/>
              </a:solidFill>
              <a:latin typeface="Consolas" charset="0"/>
              <a:ea typeface="Consolas" charset="0"/>
              <a:cs typeface="Consolas" charset="0"/>
            </a:endParaRPr>
          </a:p>
          <a:p>
            <a:r>
              <a:rPr lang="pt-BR" sz="1100" dirty="0" err="1">
                <a:solidFill>
                  <a:srgbClr val="000000"/>
                </a:solidFill>
                <a:latin typeface="Consolas" charset="0"/>
                <a:ea typeface="Consolas" charset="0"/>
                <a:cs typeface="Consolas" charset="0"/>
              </a:rPr>
              <a:t>rdd.map</a:t>
            </a:r>
            <a:r>
              <a:rPr lang="pt-BR" sz="1100" dirty="0">
                <a:solidFill>
                  <a:srgbClr val="000000"/>
                </a:solidFill>
                <a:latin typeface="Consolas" charset="0"/>
                <a:ea typeface="Consolas" charset="0"/>
                <a:cs typeface="Consolas" charset="0"/>
              </a:rPr>
              <a:t>(</a:t>
            </a:r>
            <a:r>
              <a:rPr lang="pt-BR" sz="1100" b="1" dirty="0">
                <a:solidFill>
                  <a:srgbClr val="7F0055"/>
                </a:solidFill>
                <a:latin typeface="Consolas" charset="0"/>
                <a:ea typeface="Consolas" charset="0"/>
                <a:cs typeface="Consolas" charset="0"/>
              </a:rPr>
              <a:t>lambda </a:t>
            </a:r>
            <a:r>
              <a:rPr lang="pt-BR" sz="1100" b="1" dirty="0" err="1">
                <a:solidFill>
                  <a:srgbClr val="000000"/>
                </a:solidFill>
                <a:latin typeface="Consolas" charset="0"/>
                <a:ea typeface="Consolas" charset="0"/>
                <a:cs typeface="Consolas" charset="0"/>
              </a:rPr>
              <a:t>x</a:t>
            </a:r>
            <a:r>
              <a:rPr lang="pt-BR" sz="1100" b="1" dirty="0">
                <a:solidFill>
                  <a:srgbClr val="000000"/>
                </a:solidFill>
                <a:latin typeface="Consolas" charset="0"/>
                <a:ea typeface="Consolas" charset="0"/>
                <a:cs typeface="Consolas" charset="0"/>
              </a:rPr>
              <a:t>: (</a:t>
            </a:r>
            <a:r>
              <a:rPr lang="pt-BR" sz="1100" b="1" dirty="0" err="1">
                <a:solidFill>
                  <a:srgbClr val="000000"/>
                </a:solidFill>
                <a:latin typeface="Consolas" charset="0"/>
                <a:ea typeface="Consolas" charset="0"/>
                <a:cs typeface="Consolas" charset="0"/>
              </a:rPr>
              <a:t>x</a:t>
            </a:r>
            <a:r>
              <a:rPr lang="pt-BR" sz="1100" b="1" dirty="0">
                <a:solidFill>
                  <a:srgbClr val="000000"/>
                </a:solidFill>
                <a:latin typeface="Consolas" charset="0"/>
                <a:ea typeface="Consolas" charset="0"/>
                <a:cs typeface="Consolas" charset="0"/>
              </a:rPr>
              <a:t>[0], (</a:t>
            </a:r>
            <a:r>
              <a:rPr lang="pt-BR" sz="1100" b="1" dirty="0" err="1">
                <a:solidFill>
                  <a:srgbClr val="000000"/>
                </a:solidFill>
                <a:latin typeface="Consolas" charset="0"/>
                <a:ea typeface="Consolas" charset="0"/>
                <a:cs typeface="Consolas" charset="0"/>
              </a:rPr>
              <a:t>float</a:t>
            </a:r>
            <a:r>
              <a:rPr lang="pt-BR" sz="1100" b="1" dirty="0">
                <a:solidFill>
                  <a:srgbClr val="000000"/>
                </a:solidFill>
                <a:latin typeface="Consolas" charset="0"/>
                <a:ea typeface="Consolas" charset="0"/>
                <a:cs typeface="Consolas" charset="0"/>
              </a:rPr>
              <a:t>(</a:t>
            </a:r>
            <a:r>
              <a:rPr lang="pt-BR" sz="1100" b="1" dirty="0" err="1">
                <a:solidFill>
                  <a:srgbClr val="000000"/>
                </a:solidFill>
                <a:latin typeface="Consolas" charset="0"/>
                <a:ea typeface="Consolas" charset="0"/>
                <a:cs typeface="Consolas" charset="0"/>
              </a:rPr>
              <a:t>x</a:t>
            </a:r>
            <a:r>
              <a:rPr lang="pt-BR" sz="1100" b="1" dirty="0">
                <a:solidFill>
                  <a:srgbClr val="000000"/>
                </a:solidFill>
                <a:latin typeface="Consolas" charset="0"/>
                <a:ea typeface="Consolas" charset="0"/>
                <a:cs typeface="Consolas" charset="0"/>
              </a:rPr>
              <a:t>[1]), 1))).\</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reduceByKey</a:t>
            </a:r>
            <a:r>
              <a:rPr lang="en-US" sz="1100" dirty="0">
                <a:solidFill>
                  <a:srgbClr val="000000"/>
                </a:solidFill>
                <a:latin typeface="Consolas" charset="0"/>
                <a:ea typeface="Consolas" charset="0"/>
                <a:cs typeface="Consolas" charset="0"/>
              </a:rPr>
              <a:t>(</a:t>
            </a:r>
            <a:r>
              <a:rPr lang="en-US" sz="1100" b="1" dirty="0">
                <a:solidFill>
                  <a:srgbClr val="7F0055"/>
                </a:solidFill>
                <a:latin typeface="Consolas" charset="0"/>
                <a:ea typeface="Consolas" charset="0"/>
                <a:cs typeface="Consolas" charset="0"/>
              </a:rPr>
              <a:t>lambda </a:t>
            </a:r>
            <a:r>
              <a:rPr lang="en-US" sz="1100" b="1" dirty="0">
                <a:solidFill>
                  <a:srgbClr val="000000"/>
                </a:solidFill>
                <a:latin typeface="Consolas" charset="0"/>
                <a:ea typeface="Consolas" charset="0"/>
                <a:cs typeface="Consolas" charset="0"/>
              </a:rPr>
              <a:t>t1, t2: (t1[0] + t2[0], t1[1] + t2[1])).\</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map(</a:t>
            </a:r>
            <a:r>
              <a:rPr lang="en-US" sz="1100" b="1" dirty="0">
                <a:solidFill>
                  <a:srgbClr val="7F0055"/>
                </a:solidFill>
                <a:latin typeface="Consolas" charset="0"/>
                <a:ea typeface="Consolas" charset="0"/>
                <a:cs typeface="Consolas" charset="0"/>
              </a:rPr>
              <a:t>lambda </a:t>
            </a:r>
            <a:r>
              <a:rPr lang="en-US" sz="1100" b="1" dirty="0">
                <a:solidFill>
                  <a:srgbClr val="000000"/>
                </a:solidFill>
                <a:latin typeface="Consolas" charset="0"/>
                <a:ea typeface="Consolas" charset="0"/>
                <a:cs typeface="Consolas" charset="0"/>
              </a:rPr>
              <a:t>t: (t[0], t[1][0] / t[1][1])).\</a:t>
            </a:r>
          </a:p>
          <a:p>
            <a:r>
              <a:rPr lang="ro-RO" sz="1100" dirty="0">
                <a:latin typeface="Consolas" charset="0"/>
                <a:ea typeface="Consolas" charset="0"/>
                <a:cs typeface="Consolas" charset="0"/>
              </a:rPr>
              <a:t>    </a:t>
            </a:r>
            <a:r>
              <a:rPr lang="ro-RO" sz="1100" dirty="0" err="1">
                <a:solidFill>
                  <a:srgbClr val="000000"/>
                </a:solidFill>
                <a:latin typeface="Consolas" charset="0"/>
                <a:ea typeface="Consolas" charset="0"/>
                <a:cs typeface="Consolas" charset="0"/>
              </a:rPr>
              <a:t>collect</a:t>
            </a:r>
            <a:r>
              <a:rPr lang="ro-RO" sz="1100" dirty="0">
                <a:solidFill>
                  <a:srgbClr val="000000"/>
                </a:solidFill>
                <a:latin typeface="Consolas" charset="0"/>
                <a:ea typeface="Consolas" charset="0"/>
                <a:cs typeface="Consolas" charset="0"/>
              </a:rPr>
              <a:t>()</a:t>
            </a:r>
          </a:p>
        </p:txBody>
      </p:sp>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30243" y="3359183"/>
            <a:ext cx="263841" cy="263841"/>
          </a:xfrm>
          <a:prstGeom prst="rect">
            <a:avLst/>
          </a:prstGeom>
        </p:spPr>
      </p:pic>
    </p:spTree>
    <p:extLst>
      <p:ext uri="{BB962C8B-B14F-4D97-AF65-F5344CB8AC3E}">
        <p14:creationId xmlns:p14="http://schemas.microsoft.com/office/powerpoint/2010/main" val="184462548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830" r="830"/>
          <a:stretch>
            <a:fillRect/>
          </a:stretch>
        </p:blipFill>
        <p:spPr>
          <a:xfrm>
            <a:off x="0" y="0"/>
            <a:ext cx="12192000" cy="6858000"/>
          </a:xfrm>
        </p:spPr>
      </p:pic>
      <p:sp>
        <p:nvSpPr>
          <p:cNvPr id="3" name="Title 2"/>
          <p:cNvSpPr>
            <a:spLocks noGrp="1"/>
          </p:cNvSpPr>
          <p:nvPr>
            <p:ph type="title"/>
          </p:nvPr>
        </p:nvSpPr>
        <p:spPr/>
        <p:txBody>
          <a:bodyPr/>
          <a:lstStyle/>
          <a:p>
            <a:r>
              <a:rPr lang="en-US" dirty="0">
                <a:solidFill>
                  <a:srgbClr val="FFFFFF"/>
                </a:solidFill>
                <a:ea typeface="Segoe UI" pitchFamily="34" charset="0"/>
              </a:rPr>
              <a:t>Spark SQL</a:t>
            </a:r>
            <a:endParaRPr lang="en-US" dirty="0"/>
          </a:p>
        </p:txBody>
      </p:sp>
      <p:sp>
        <p:nvSpPr>
          <p:cNvPr id="6" name="Rectangle 5"/>
          <p:cNvSpPr/>
          <p:nvPr/>
        </p:nvSpPr>
        <p:spPr bwMode="ltGray">
          <a:xfrm>
            <a:off x="269303" y="291514"/>
            <a:ext cx="5378549" cy="5378549"/>
          </a:xfrm>
          <a:prstGeom prst="rect">
            <a:avLst/>
          </a:prstGeom>
          <a:solidFill>
            <a:srgbClr val="00206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solidFill>
                <a:srgbClr val="FF8C00"/>
              </a:solidFill>
              <a:ea typeface="Segoe UI" pitchFamily="34" charset="0"/>
              <a:cs typeface="Segoe UI" pitchFamily="34" charset="0"/>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10129915" y="470830"/>
            <a:ext cx="1606863" cy="352102"/>
          </a:xfrm>
          <a:prstGeom prst="rect">
            <a:avLst/>
          </a:prstGeom>
        </p:spPr>
      </p:pic>
      <p:sp>
        <p:nvSpPr>
          <p:cNvPr id="9" name="Text Placeholder 4"/>
          <p:cNvSpPr txBox="1">
            <a:spLocks/>
          </p:cNvSpPr>
          <p:nvPr/>
        </p:nvSpPr>
        <p:spPr>
          <a:xfrm>
            <a:off x="642281" y="1163139"/>
            <a:ext cx="5095209" cy="411084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pPr>
            <a:r>
              <a:rPr lang="en-US" sz="3529" dirty="0">
                <a:solidFill>
                  <a:schemeClr val="bg1"/>
                </a:solidFill>
              </a:rPr>
              <a:t>Relational Data Processing with Spark SQL and </a:t>
            </a:r>
            <a:r>
              <a:rPr lang="en-US" sz="3529" dirty="0" err="1">
                <a:solidFill>
                  <a:schemeClr val="bg1"/>
                </a:solidFill>
              </a:rPr>
              <a:t>DataFrames</a:t>
            </a:r>
            <a:endParaRPr lang="en-US" sz="3529" dirty="0">
              <a:solidFill>
                <a:schemeClr val="bg1"/>
              </a:solidFill>
            </a:endParaRPr>
          </a:p>
        </p:txBody>
      </p:sp>
    </p:spTree>
    <p:extLst>
      <p:ext uri="{BB962C8B-B14F-4D97-AF65-F5344CB8AC3E}">
        <p14:creationId xmlns:p14="http://schemas.microsoft.com/office/powerpoint/2010/main" val="72260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4"/>
          <p:cNvSpPr/>
          <p:nvPr/>
        </p:nvSpPr>
        <p:spPr>
          <a:xfrm>
            <a:off x="0" y="1858794"/>
            <a:ext cx="7522944" cy="2210666"/>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9" name="TextBox 8"/>
          <p:cNvSpPr txBox="1"/>
          <p:nvPr/>
        </p:nvSpPr>
        <p:spPr>
          <a:xfrm>
            <a:off x="339681" y="2029844"/>
            <a:ext cx="6934799" cy="1846655"/>
          </a:xfrm>
          <a:prstGeom prst="rect">
            <a:avLst/>
          </a:prstGeom>
          <a:solidFill>
            <a:schemeClr val="bg1"/>
          </a:solidFill>
          <a:ln w="3175">
            <a:solidFill>
              <a:schemeClr val="bg2">
                <a:lumMod val="90000"/>
              </a:schemeClr>
            </a:solidFill>
          </a:ln>
        </p:spPr>
        <p:txBody>
          <a:bodyPr wrap="square" lIns="121917" tIns="60958" rIns="121917" bIns="60958" rtlCol="0">
            <a:spAutoFit/>
          </a:bodyPr>
          <a:lstStyle/>
          <a:p>
            <a:r>
              <a:rPr lang="is-IS" sz="1600" dirty="0">
                <a:solidFill>
                  <a:srgbClr val="000000"/>
                </a:solidFill>
                <a:latin typeface="Consolas" charset="0"/>
                <a:ea typeface="Consolas" charset="0"/>
                <a:cs typeface="Consolas" charset="0"/>
              </a:rPr>
              <a:t>rdd = sc.textFile(...).map(_.split(" "))</a:t>
            </a:r>
          </a:p>
          <a:p>
            <a:r>
              <a:rPr lang="is-IS" sz="1600" dirty="0">
                <a:solidFill>
                  <a:srgbClr val="000000"/>
                </a:solidFill>
                <a:latin typeface="Consolas" charset="0"/>
                <a:ea typeface="Consolas" charset="0"/>
                <a:cs typeface="Consolas" charset="0"/>
              </a:rPr>
              <a:t>rdd.map { x </a:t>
            </a:r>
            <a:r>
              <a:rPr lang="is-IS" sz="1600" b="1" dirty="0">
                <a:solidFill>
                  <a:srgbClr val="7F0055"/>
                </a:solidFill>
                <a:latin typeface="Consolas" charset="0"/>
                <a:ea typeface="Consolas" charset="0"/>
                <a:cs typeface="Consolas" charset="0"/>
              </a:rPr>
              <a:t>=&gt; (</a:t>
            </a:r>
            <a:r>
              <a:rPr lang="is-IS" sz="1600" b="1" dirty="0">
                <a:solidFill>
                  <a:srgbClr val="000000"/>
                </a:solidFill>
                <a:latin typeface="Consolas" charset="0"/>
                <a:ea typeface="Consolas" charset="0"/>
                <a:cs typeface="Consolas" charset="0"/>
              </a:rPr>
              <a:t>x(0), (x(1).toFloat, 1)) }.</a:t>
            </a:r>
          </a:p>
          <a:p>
            <a:r>
              <a:rPr lang="en-US" sz="1600" dirty="0">
                <a:solidFill>
                  <a:srgbClr val="000000"/>
                </a:solidFill>
                <a:latin typeface="Consolas" charset="0"/>
                <a:ea typeface="Consolas" charset="0"/>
                <a:cs typeface="Consolas" charset="0"/>
              </a:rPr>
              <a:t>    </a:t>
            </a:r>
            <a:r>
              <a:rPr lang="en-US" sz="1600" dirty="0" err="1">
                <a:solidFill>
                  <a:srgbClr val="000000"/>
                </a:solidFill>
                <a:latin typeface="Consolas" charset="0"/>
                <a:ea typeface="Consolas" charset="0"/>
                <a:cs typeface="Consolas" charset="0"/>
              </a:rPr>
              <a:t>reduceByKey</a:t>
            </a:r>
            <a:r>
              <a:rPr lang="en-US" sz="1600" dirty="0">
                <a:solidFill>
                  <a:srgbClr val="000000"/>
                </a:solidFill>
                <a:latin typeface="Consolas" charset="0"/>
                <a:ea typeface="Consolas" charset="0"/>
                <a:cs typeface="Consolas" charset="0"/>
              </a:rPr>
              <a:t> { </a:t>
            </a:r>
            <a:r>
              <a:rPr lang="en-US" sz="1600" b="1" dirty="0">
                <a:solidFill>
                  <a:srgbClr val="7F0055"/>
                </a:solidFill>
                <a:latin typeface="Consolas" charset="0"/>
                <a:ea typeface="Consolas" charset="0"/>
                <a:cs typeface="Consolas" charset="0"/>
              </a:rPr>
              <a:t>case ((</a:t>
            </a:r>
            <a:r>
              <a:rPr lang="en-US" sz="1600" b="1" dirty="0">
                <a:solidFill>
                  <a:srgbClr val="000000"/>
                </a:solidFill>
                <a:latin typeface="Consolas" charset="0"/>
                <a:ea typeface="Consolas" charset="0"/>
                <a:cs typeface="Consolas" charset="0"/>
              </a:rPr>
              <a:t>num1, count1), (num2, count2)) </a:t>
            </a:r>
            <a:r>
              <a:rPr lang="en-US" sz="1600" b="1" dirty="0">
                <a:solidFill>
                  <a:srgbClr val="7F0055"/>
                </a:solidFill>
                <a:latin typeface="Consolas" charset="0"/>
                <a:ea typeface="Consolas" charset="0"/>
                <a:cs typeface="Consolas" charset="0"/>
              </a:rPr>
              <a:t>=&gt; </a:t>
            </a:r>
          </a:p>
          <a:p>
            <a:r>
              <a:rPr lang="en-US" sz="1600" dirty="0">
                <a:latin typeface="Consolas" charset="0"/>
                <a:ea typeface="Consolas" charset="0"/>
                <a:cs typeface="Consolas" charset="0"/>
              </a:rPr>
              <a:t>      (</a:t>
            </a:r>
            <a:r>
              <a:rPr lang="en-US" sz="1600" dirty="0">
                <a:solidFill>
                  <a:srgbClr val="000000"/>
                </a:solidFill>
                <a:latin typeface="Consolas" charset="0"/>
                <a:ea typeface="Consolas" charset="0"/>
                <a:cs typeface="Consolas" charset="0"/>
              </a:rPr>
              <a:t>num1 + num2, count1 + count2) </a:t>
            </a:r>
          </a:p>
          <a:p>
            <a:r>
              <a:rPr lang="de-DE" sz="1600" dirty="0">
                <a:latin typeface="Consolas" charset="0"/>
                <a:ea typeface="Consolas" charset="0"/>
                <a:cs typeface="Consolas" charset="0"/>
              </a:rPr>
              <a:t>    }.</a:t>
            </a:r>
          </a:p>
          <a:p>
            <a:r>
              <a:rPr lang="en-US" sz="1600" dirty="0">
                <a:solidFill>
                  <a:srgbClr val="000000"/>
                </a:solidFill>
                <a:latin typeface="Consolas" charset="0"/>
                <a:ea typeface="Consolas" charset="0"/>
                <a:cs typeface="Consolas" charset="0"/>
              </a:rPr>
              <a:t>    map { </a:t>
            </a:r>
            <a:r>
              <a:rPr lang="en-US" sz="1600" b="1" dirty="0">
                <a:solidFill>
                  <a:srgbClr val="7F0055"/>
                </a:solidFill>
                <a:latin typeface="Consolas" charset="0"/>
                <a:ea typeface="Consolas" charset="0"/>
                <a:cs typeface="Consolas" charset="0"/>
              </a:rPr>
              <a:t>case (</a:t>
            </a:r>
            <a:r>
              <a:rPr lang="en-US" sz="1600" b="1" dirty="0">
                <a:solidFill>
                  <a:srgbClr val="000000"/>
                </a:solidFill>
                <a:latin typeface="Consolas" charset="0"/>
                <a:ea typeface="Consolas" charset="0"/>
                <a:cs typeface="Consolas" charset="0"/>
              </a:rPr>
              <a:t>key, (</a:t>
            </a:r>
            <a:r>
              <a:rPr lang="en-US" sz="1600" b="1" dirty="0" err="1">
                <a:solidFill>
                  <a:srgbClr val="000000"/>
                </a:solidFill>
                <a:latin typeface="Consolas" charset="0"/>
                <a:ea typeface="Consolas" charset="0"/>
                <a:cs typeface="Consolas" charset="0"/>
              </a:rPr>
              <a:t>num</a:t>
            </a:r>
            <a:r>
              <a:rPr lang="en-US" sz="1600" b="1" dirty="0">
                <a:solidFill>
                  <a:srgbClr val="000000"/>
                </a:solidFill>
                <a:latin typeface="Consolas" charset="0"/>
                <a:ea typeface="Consolas" charset="0"/>
                <a:cs typeface="Consolas" charset="0"/>
              </a:rPr>
              <a:t>, count)) </a:t>
            </a:r>
            <a:r>
              <a:rPr lang="en-US" sz="1600" b="1" dirty="0">
                <a:solidFill>
                  <a:srgbClr val="7F0055"/>
                </a:solidFill>
                <a:latin typeface="Consolas" charset="0"/>
                <a:ea typeface="Consolas" charset="0"/>
                <a:cs typeface="Consolas" charset="0"/>
              </a:rPr>
              <a:t>=&gt; (</a:t>
            </a:r>
            <a:r>
              <a:rPr lang="en-US" sz="1600" b="1" dirty="0">
                <a:solidFill>
                  <a:srgbClr val="000000"/>
                </a:solidFill>
                <a:latin typeface="Consolas" charset="0"/>
                <a:ea typeface="Consolas" charset="0"/>
                <a:cs typeface="Consolas" charset="0"/>
              </a:rPr>
              <a:t>key, </a:t>
            </a:r>
            <a:r>
              <a:rPr lang="en-US" sz="1600" b="1" dirty="0" err="1">
                <a:solidFill>
                  <a:srgbClr val="000000"/>
                </a:solidFill>
                <a:latin typeface="Consolas" charset="0"/>
                <a:ea typeface="Consolas" charset="0"/>
                <a:cs typeface="Consolas" charset="0"/>
              </a:rPr>
              <a:t>num</a:t>
            </a:r>
            <a:r>
              <a:rPr lang="en-US" sz="1600" b="1" dirty="0">
                <a:solidFill>
                  <a:srgbClr val="000000"/>
                </a:solidFill>
                <a:latin typeface="Consolas" charset="0"/>
                <a:ea typeface="Consolas" charset="0"/>
                <a:cs typeface="Consolas" charset="0"/>
              </a:rPr>
              <a:t> / count) }.</a:t>
            </a:r>
          </a:p>
          <a:p>
            <a:r>
              <a:rPr lang="ro-RO" sz="1600" dirty="0">
                <a:solidFill>
                  <a:srgbClr val="000000"/>
                </a:solidFill>
                <a:latin typeface="Consolas" charset="0"/>
                <a:ea typeface="Consolas" charset="0"/>
                <a:cs typeface="Consolas" charset="0"/>
              </a:rPr>
              <a:t>    </a:t>
            </a:r>
            <a:r>
              <a:rPr lang="ro-RO" sz="1600" dirty="0" err="1">
                <a:solidFill>
                  <a:srgbClr val="000000"/>
                </a:solidFill>
                <a:latin typeface="Consolas" charset="0"/>
                <a:ea typeface="Consolas" charset="0"/>
                <a:cs typeface="Consolas" charset="0"/>
              </a:rPr>
              <a:t>collect</a:t>
            </a:r>
            <a:r>
              <a:rPr lang="ro-RO" sz="1600" dirty="0">
                <a:solidFill>
                  <a:srgbClr val="000000"/>
                </a:solidFill>
                <a:latin typeface="Consolas" charset="0"/>
                <a:ea typeface="Consolas" charset="0"/>
                <a:cs typeface="Consolas" charset="0"/>
              </a:rPr>
              <a:t>()</a:t>
            </a:r>
          </a:p>
        </p:txBody>
      </p:sp>
      <p:sp>
        <p:nvSpPr>
          <p:cNvPr id="3" name="TextBox 2"/>
          <p:cNvSpPr txBox="1"/>
          <p:nvPr/>
        </p:nvSpPr>
        <p:spPr>
          <a:xfrm>
            <a:off x="2107163" y="1252810"/>
            <a:ext cx="3276600" cy="553997"/>
          </a:xfrm>
          <a:prstGeom prst="rect">
            <a:avLst/>
          </a:prstGeom>
          <a:noFill/>
        </p:spPr>
        <p:txBody>
          <a:bodyPr wrap="square" lIns="121917" tIns="60958" rIns="121917" bIns="60958" rtlCol="0">
            <a:spAutoFit/>
          </a:bodyPr>
          <a:lstStyle/>
          <a:p>
            <a:r>
              <a:rPr lang="en-US" sz="2800" dirty="0">
                <a:latin typeface="Source Sans Pro" charset="0"/>
                <a:ea typeface="Source Sans Pro" charset="0"/>
                <a:cs typeface="Source Sans Pro" charset="0"/>
              </a:rPr>
              <a:t>Using RDDs</a:t>
            </a:r>
          </a:p>
        </p:txBody>
      </p:sp>
      <p:sp>
        <p:nvSpPr>
          <p:cNvPr id="13" name="TextBox 12"/>
          <p:cNvSpPr txBox="1"/>
          <p:nvPr/>
        </p:nvSpPr>
        <p:spPr>
          <a:xfrm>
            <a:off x="2057908" y="3963511"/>
            <a:ext cx="3276600" cy="553997"/>
          </a:xfrm>
          <a:prstGeom prst="rect">
            <a:avLst/>
          </a:prstGeom>
          <a:noFill/>
        </p:spPr>
        <p:txBody>
          <a:bodyPr wrap="square" lIns="121917" tIns="60958" rIns="121917" bIns="60958" rtlCol="0">
            <a:spAutoFit/>
          </a:bodyPr>
          <a:lstStyle/>
          <a:p>
            <a:r>
              <a:rPr lang="en-US" sz="2800" dirty="0">
                <a:latin typeface="Source Sans Pro" charset="0"/>
                <a:ea typeface="Source Sans Pro" charset="0"/>
                <a:cs typeface="Source Sans Pro" charset="0"/>
              </a:rPr>
              <a:t>Using </a:t>
            </a:r>
            <a:r>
              <a:rPr lang="en-US" sz="2800" dirty="0" err="1">
                <a:latin typeface="Source Sans Pro" charset="0"/>
                <a:ea typeface="Source Sans Pro" charset="0"/>
                <a:cs typeface="Source Sans Pro" charset="0"/>
              </a:rPr>
              <a:t>DataFrames</a:t>
            </a:r>
            <a:endParaRPr lang="en-US" sz="2800" dirty="0">
              <a:latin typeface="Source Sans Pro" charset="0"/>
              <a:ea typeface="Source Sans Pro" charset="0"/>
              <a:cs typeface="Source Sans Pro" charset="0"/>
            </a:endParaRPr>
          </a:p>
        </p:txBody>
      </p:sp>
      <p:sp>
        <p:nvSpPr>
          <p:cNvPr id="14" name="Rectangle 4"/>
          <p:cNvSpPr/>
          <p:nvPr/>
        </p:nvSpPr>
        <p:spPr>
          <a:xfrm>
            <a:off x="932109" y="4313159"/>
            <a:ext cx="7629744" cy="2253802"/>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 name="connsiteX0" fmla="*/ 0 w 8724900"/>
              <a:gd name="connsiteY0" fmla="*/ 40 h 3060740"/>
              <a:gd name="connsiteX1" fmla="*/ 4279900 w 8724900"/>
              <a:gd name="connsiteY1" fmla="*/ 317540 h 3060740"/>
              <a:gd name="connsiteX2" fmla="*/ 8724900 w 8724900"/>
              <a:gd name="connsiteY2" fmla="*/ 40 h 3060740"/>
              <a:gd name="connsiteX3" fmla="*/ 8455718 w 8724900"/>
              <a:gd name="connsiteY3" fmla="*/ 1421300 h 3060740"/>
              <a:gd name="connsiteX4" fmla="*/ 8724900 w 8724900"/>
              <a:gd name="connsiteY4" fmla="*/ 3060740 h 3060740"/>
              <a:gd name="connsiteX5" fmla="*/ 4379018 w 8724900"/>
              <a:gd name="connsiteY5" fmla="*/ 2691300 h 3060740"/>
              <a:gd name="connsiteX6" fmla="*/ 216099 w 8724900"/>
              <a:gd name="connsiteY6" fmla="*/ 3013802 h 3060740"/>
              <a:gd name="connsiteX7" fmla="*/ 340418 w 8724900"/>
              <a:gd name="connsiteY7" fmla="*/ 1345100 h 3060740"/>
              <a:gd name="connsiteX8" fmla="*/ 0 w 8724900"/>
              <a:gd name="connsiteY8" fmla="*/ 40 h 3060740"/>
              <a:gd name="connsiteX0" fmla="*/ 0 w 8580834"/>
              <a:gd name="connsiteY0" fmla="*/ 46939 h 3060700"/>
              <a:gd name="connsiteX1" fmla="*/ 4135834 w 8580834"/>
              <a:gd name="connsiteY1" fmla="*/ 317500 h 3060700"/>
              <a:gd name="connsiteX2" fmla="*/ 8580834 w 8580834"/>
              <a:gd name="connsiteY2" fmla="*/ 0 h 3060700"/>
              <a:gd name="connsiteX3" fmla="*/ 8311652 w 8580834"/>
              <a:gd name="connsiteY3" fmla="*/ 1421260 h 3060700"/>
              <a:gd name="connsiteX4" fmla="*/ 8580834 w 8580834"/>
              <a:gd name="connsiteY4" fmla="*/ 3060700 h 3060700"/>
              <a:gd name="connsiteX5" fmla="*/ 4234952 w 8580834"/>
              <a:gd name="connsiteY5" fmla="*/ 2691260 h 3060700"/>
              <a:gd name="connsiteX6" fmla="*/ 72033 w 8580834"/>
              <a:gd name="connsiteY6" fmla="*/ 3013762 h 3060700"/>
              <a:gd name="connsiteX7" fmla="*/ 196352 w 8580834"/>
              <a:gd name="connsiteY7" fmla="*/ 1345060 h 3060700"/>
              <a:gd name="connsiteX8" fmla="*/ 0 w 8580834"/>
              <a:gd name="connsiteY8" fmla="*/ 46939 h 3060700"/>
              <a:gd name="connsiteX0" fmla="*/ 0 w 8580834"/>
              <a:gd name="connsiteY0" fmla="*/ 46939 h 3060700"/>
              <a:gd name="connsiteX1" fmla="*/ 4135834 w 8580834"/>
              <a:gd name="connsiteY1" fmla="*/ 317500 h 3060700"/>
              <a:gd name="connsiteX2" fmla="*/ 8580834 w 8580834"/>
              <a:gd name="connsiteY2" fmla="*/ 0 h 3060700"/>
              <a:gd name="connsiteX3" fmla="*/ 8311652 w 8580834"/>
              <a:gd name="connsiteY3" fmla="*/ 1421260 h 3060700"/>
              <a:gd name="connsiteX4" fmla="*/ 8580834 w 8580834"/>
              <a:gd name="connsiteY4" fmla="*/ 3060700 h 3060700"/>
              <a:gd name="connsiteX5" fmla="*/ 4234952 w 8580834"/>
              <a:gd name="connsiteY5" fmla="*/ 2691260 h 3060700"/>
              <a:gd name="connsiteX6" fmla="*/ 72033 w 8580834"/>
              <a:gd name="connsiteY6" fmla="*/ 3013762 h 3060700"/>
              <a:gd name="connsiteX7" fmla="*/ 556516 w 8580834"/>
              <a:gd name="connsiteY7" fmla="*/ 1532805 h 3060700"/>
              <a:gd name="connsiteX8" fmla="*/ 0 w 8580834"/>
              <a:gd name="connsiteY8" fmla="*/ 46939 h 3060700"/>
              <a:gd name="connsiteX0" fmla="*/ 0 w 8580834"/>
              <a:gd name="connsiteY0" fmla="*/ 46939 h 3060700"/>
              <a:gd name="connsiteX1" fmla="*/ 4135834 w 8580834"/>
              <a:gd name="connsiteY1" fmla="*/ 317500 h 3060700"/>
              <a:gd name="connsiteX2" fmla="*/ 8580834 w 8580834"/>
              <a:gd name="connsiteY2" fmla="*/ 0 h 3060700"/>
              <a:gd name="connsiteX3" fmla="*/ 8311652 w 8580834"/>
              <a:gd name="connsiteY3" fmla="*/ 1421260 h 3060700"/>
              <a:gd name="connsiteX4" fmla="*/ 8580834 w 8580834"/>
              <a:gd name="connsiteY4" fmla="*/ 3060700 h 3060700"/>
              <a:gd name="connsiteX5" fmla="*/ 4234952 w 8580834"/>
              <a:gd name="connsiteY5" fmla="*/ 2691260 h 3060700"/>
              <a:gd name="connsiteX6" fmla="*/ 72033 w 8580834"/>
              <a:gd name="connsiteY6" fmla="*/ 3013762 h 3060700"/>
              <a:gd name="connsiteX7" fmla="*/ 448466 w 8580834"/>
              <a:gd name="connsiteY7" fmla="*/ 1532805 h 3060700"/>
              <a:gd name="connsiteX8" fmla="*/ 0 w 8580834"/>
              <a:gd name="connsiteY8" fmla="*/ 46939 h 306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80834" h="3060700">
                <a:moveTo>
                  <a:pt x="0" y="46939"/>
                </a:moveTo>
                <a:cubicBezTo>
                  <a:pt x="1435100" y="42706"/>
                  <a:pt x="2700734" y="321733"/>
                  <a:pt x="4135834" y="317500"/>
                </a:cubicBezTo>
                <a:lnTo>
                  <a:pt x="8580834" y="0"/>
                </a:lnTo>
                <a:cubicBezTo>
                  <a:pt x="8580007" y="444120"/>
                  <a:pt x="8312479" y="977140"/>
                  <a:pt x="8311652" y="1421260"/>
                </a:cubicBezTo>
                <a:lnTo>
                  <a:pt x="8580834" y="3060700"/>
                </a:lnTo>
                <a:cubicBezTo>
                  <a:pt x="7136440" y="3056087"/>
                  <a:pt x="5679346" y="2695873"/>
                  <a:pt x="4234952" y="2691260"/>
                </a:cubicBezTo>
                <a:lnTo>
                  <a:pt x="72033" y="3013762"/>
                </a:lnTo>
                <a:cubicBezTo>
                  <a:pt x="66972" y="2441882"/>
                  <a:pt x="453527" y="2104685"/>
                  <a:pt x="448466" y="1532805"/>
                </a:cubicBezTo>
                <a:lnTo>
                  <a:pt x="0" y="46939"/>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15" name="TextBox 14"/>
          <p:cNvSpPr txBox="1"/>
          <p:nvPr/>
        </p:nvSpPr>
        <p:spPr>
          <a:xfrm>
            <a:off x="1172782" y="4517508"/>
            <a:ext cx="6902272" cy="1600434"/>
          </a:xfrm>
          <a:prstGeom prst="rect">
            <a:avLst/>
          </a:prstGeom>
          <a:solidFill>
            <a:schemeClr val="bg1"/>
          </a:solidFill>
          <a:ln w="3175">
            <a:solidFill>
              <a:schemeClr val="bg2">
                <a:lumMod val="90000"/>
              </a:schemeClr>
            </a:solidFill>
          </a:ln>
        </p:spPr>
        <p:txBody>
          <a:bodyPr wrap="square" lIns="121917" tIns="60958" rIns="121917" bIns="60958" rtlCol="0">
            <a:spAutoFit/>
          </a:bodyPr>
          <a:lstStyle/>
          <a:p>
            <a:r>
              <a:rPr lang="en-US" sz="1600" b="1" dirty="0">
                <a:solidFill>
                  <a:srgbClr val="7F0055"/>
                </a:solidFill>
                <a:latin typeface="Consolas" charset="0"/>
                <a:ea typeface="Consolas" charset="0"/>
                <a:cs typeface="Consolas" charset="0"/>
              </a:rPr>
              <a:t>import </a:t>
            </a:r>
            <a:r>
              <a:rPr lang="en-US" sz="1600" b="1" dirty="0" err="1">
                <a:solidFill>
                  <a:srgbClr val="000000"/>
                </a:solidFill>
                <a:latin typeface="Consolas" charset="0"/>
                <a:ea typeface="Consolas" charset="0"/>
                <a:cs typeface="Consolas" charset="0"/>
              </a:rPr>
              <a:t>org.apache.spark.sql.functions</a:t>
            </a:r>
            <a:r>
              <a:rPr lang="en-US" sz="1600" b="1" dirty="0">
                <a:solidFill>
                  <a:srgbClr val="000000"/>
                </a:solidFill>
                <a:latin typeface="Consolas" charset="0"/>
                <a:ea typeface="Consolas" charset="0"/>
                <a:cs typeface="Consolas" charset="0"/>
              </a:rPr>
              <a:t>._</a:t>
            </a:r>
          </a:p>
          <a:p>
            <a:endParaRPr lang="en-US" sz="1600" dirty="0">
              <a:latin typeface="Consolas" charset="0"/>
              <a:ea typeface="Consolas" charset="0"/>
              <a:cs typeface="Consolas" charset="0"/>
            </a:endParaRPr>
          </a:p>
          <a:p>
            <a:r>
              <a:rPr lang="fr-FR" sz="1600" b="1" dirty="0">
                <a:solidFill>
                  <a:srgbClr val="7F0055"/>
                </a:solidFill>
                <a:latin typeface="Consolas" charset="0"/>
                <a:ea typeface="Consolas" charset="0"/>
                <a:cs typeface="Consolas" charset="0"/>
              </a:rPr>
              <a:t>val </a:t>
            </a:r>
            <a:r>
              <a:rPr lang="fr-FR" sz="1600" b="1" dirty="0" err="1">
                <a:solidFill>
                  <a:srgbClr val="000000"/>
                </a:solidFill>
                <a:latin typeface="Consolas" charset="0"/>
                <a:ea typeface="Consolas" charset="0"/>
                <a:cs typeface="Consolas" charset="0"/>
              </a:rPr>
              <a:t>df</a:t>
            </a:r>
            <a:r>
              <a:rPr lang="fr-FR" sz="1600" b="1" dirty="0">
                <a:solidFill>
                  <a:srgbClr val="000000"/>
                </a:solidFill>
                <a:latin typeface="Consolas" charset="0"/>
                <a:ea typeface="Consolas" charset="0"/>
                <a:cs typeface="Consolas" charset="0"/>
              </a:rPr>
              <a:t> </a:t>
            </a:r>
            <a:r>
              <a:rPr lang="fr-FR" sz="1600" b="1" dirty="0">
                <a:solidFill>
                  <a:srgbClr val="7F0055"/>
                </a:solidFill>
                <a:latin typeface="Consolas" charset="0"/>
                <a:ea typeface="Consolas" charset="0"/>
                <a:cs typeface="Consolas" charset="0"/>
              </a:rPr>
              <a:t>= </a:t>
            </a:r>
            <a:r>
              <a:rPr lang="fr-FR" sz="1600" b="1" dirty="0" err="1">
                <a:solidFill>
                  <a:srgbClr val="000000"/>
                </a:solidFill>
                <a:latin typeface="Consolas" charset="0"/>
                <a:ea typeface="Consolas" charset="0"/>
                <a:cs typeface="Consolas" charset="0"/>
              </a:rPr>
              <a:t>rdd.map</a:t>
            </a:r>
            <a:r>
              <a:rPr lang="fr-FR" sz="1600" b="1" dirty="0">
                <a:solidFill>
                  <a:srgbClr val="000000"/>
                </a:solidFill>
                <a:latin typeface="Consolas" charset="0"/>
                <a:ea typeface="Consolas" charset="0"/>
                <a:cs typeface="Consolas" charset="0"/>
              </a:rPr>
              <a:t>(a </a:t>
            </a:r>
            <a:r>
              <a:rPr lang="fr-FR" sz="1600" b="1" dirty="0">
                <a:solidFill>
                  <a:srgbClr val="7F0055"/>
                </a:solidFill>
                <a:latin typeface="Consolas" charset="0"/>
                <a:ea typeface="Consolas" charset="0"/>
                <a:cs typeface="Consolas" charset="0"/>
              </a:rPr>
              <a:t>=&gt; (</a:t>
            </a:r>
            <a:r>
              <a:rPr lang="fr-FR" sz="1600" b="1" dirty="0">
                <a:solidFill>
                  <a:srgbClr val="000000"/>
                </a:solidFill>
                <a:latin typeface="Consolas" charset="0"/>
                <a:ea typeface="Consolas" charset="0"/>
                <a:cs typeface="Consolas" charset="0"/>
              </a:rPr>
              <a:t>a(0), a(1))).</a:t>
            </a:r>
            <a:r>
              <a:rPr lang="fr-FR" sz="1600" b="1" dirty="0" err="1">
                <a:solidFill>
                  <a:srgbClr val="000000"/>
                </a:solidFill>
                <a:latin typeface="Consolas" charset="0"/>
                <a:ea typeface="Consolas" charset="0"/>
                <a:cs typeface="Consolas" charset="0"/>
              </a:rPr>
              <a:t>toDF</a:t>
            </a:r>
            <a:r>
              <a:rPr lang="fr-FR" sz="1600" b="1" dirty="0">
                <a:solidFill>
                  <a:srgbClr val="000000"/>
                </a:solidFill>
                <a:latin typeface="Consolas" charset="0"/>
                <a:ea typeface="Consolas" charset="0"/>
                <a:cs typeface="Consolas" charset="0"/>
              </a:rPr>
              <a:t>(</a:t>
            </a:r>
            <a:r>
              <a:rPr lang="fr-FR" sz="1600" b="1" dirty="0">
                <a:solidFill>
                  <a:srgbClr val="0000BB"/>
                </a:solidFill>
                <a:latin typeface="Consolas" charset="0"/>
                <a:ea typeface="Consolas" charset="0"/>
                <a:cs typeface="Consolas" charset="0"/>
              </a:rPr>
              <a:t>"key", "value")</a:t>
            </a:r>
          </a:p>
          <a:p>
            <a:r>
              <a:rPr lang="fr-FR" sz="1600" dirty="0" err="1">
                <a:solidFill>
                  <a:srgbClr val="000000"/>
                </a:solidFill>
                <a:latin typeface="Consolas" charset="0"/>
                <a:ea typeface="Consolas" charset="0"/>
                <a:cs typeface="Consolas" charset="0"/>
              </a:rPr>
              <a:t>df.groupBy</a:t>
            </a:r>
            <a:r>
              <a:rPr lang="fr-FR" sz="1600" dirty="0">
                <a:solidFill>
                  <a:srgbClr val="000000"/>
                </a:solidFill>
                <a:latin typeface="Consolas" charset="0"/>
                <a:ea typeface="Consolas" charset="0"/>
                <a:cs typeface="Consolas" charset="0"/>
              </a:rPr>
              <a:t>(</a:t>
            </a:r>
            <a:r>
              <a:rPr lang="fr-FR" sz="1600" dirty="0">
                <a:solidFill>
                  <a:srgbClr val="0000BB"/>
                </a:solidFill>
                <a:latin typeface="Consolas" charset="0"/>
                <a:ea typeface="Consolas" charset="0"/>
                <a:cs typeface="Consolas" charset="0"/>
              </a:rPr>
              <a:t>"key")</a:t>
            </a:r>
          </a:p>
          <a:p>
            <a:r>
              <a:rPr lang="fr-FR" sz="1600" dirty="0">
                <a:latin typeface="Consolas" charset="0"/>
                <a:ea typeface="Consolas" charset="0"/>
                <a:cs typeface="Consolas" charset="0"/>
              </a:rPr>
              <a:t>  .</a:t>
            </a:r>
            <a:r>
              <a:rPr lang="fr-FR" sz="1600" dirty="0" err="1">
                <a:solidFill>
                  <a:srgbClr val="000000"/>
                </a:solidFill>
                <a:latin typeface="Consolas" charset="0"/>
                <a:ea typeface="Consolas" charset="0"/>
                <a:cs typeface="Consolas" charset="0"/>
              </a:rPr>
              <a:t>agg</a:t>
            </a:r>
            <a:r>
              <a:rPr lang="fr-FR" sz="1600" dirty="0">
                <a:solidFill>
                  <a:srgbClr val="000000"/>
                </a:solidFill>
                <a:latin typeface="Consolas" charset="0"/>
                <a:ea typeface="Consolas" charset="0"/>
                <a:cs typeface="Consolas" charset="0"/>
              </a:rPr>
              <a:t>(</a:t>
            </a:r>
            <a:r>
              <a:rPr lang="fr-FR" sz="1600" dirty="0" err="1">
                <a:solidFill>
                  <a:srgbClr val="000000"/>
                </a:solidFill>
                <a:latin typeface="Consolas" charset="0"/>
                <a:ea typeface="Consolas" charset="0"/>
                <a:cs typeface="Consolas" charset="0"/>
              </a:rPr>
              <a:t>avg</a:t>
            </a:r>
            <a:r>
              <a:rPr lang="fr-FR" sz="1600" dirty="0">
                <a:solidFill>
                  <a:srgbClr val="000000"/>
                </a:solidFill>
                <a:latin typeface="Consolas" charset="0"/>
                <a:ea typeface="Consolas" charset="0"/>
                <a:cs typeface="Consolas" charset="0"/>
              </a:rPr>
              <a:t>(</a:t>
            </a:r>
            <a:r>
              <a:rPr lang="fr-FR" sz="1600" dirty="0">
                <a:solidFill>
                  <a:srgbClr val="0000BB"/>
                </a:solidFill>
                <a:latin typeface="Consolas" charset="0"/>
                <a:ea typeface="Consolas" charset="0"/>
                <a:cs typeface="Consolas" charset="0"/>
              </a:rPr>
              <a:t>"value"))</a:t>
            </a:r>
          </a:p>
          <a:p>
            <a:r>
              <a:rPr lang="fr-FR" sz="1600" dirty="0">
                <a:latin typeface="Consolas" charset="0"/>
                <a:ea typeface="Consolas" charset="0"/>
                <a:cs typeface="Consolas" charset="0"/>
              </a:rPr>
              <a:t>  .</a:t>
            </a:r>
            <a:r>
              <a:rPr lang="fr-FR" sz="1600" dirty="0" err="1">
                <a:solidFill>
                  <a:srgbClr val="000000"/>
                </a:solidFill>
                <a:latin typeface="Consolas" charset="0"/>
                <a:ea typeface="Consolas" charset="0"/>
                <a:cs typeface="Consolas" charset="0"/>
              </a:rPr>
              <a:t>collect</a:t>
            </a:r>
            <a:r>
              <a:rPr lang="fr-FR" sz="1600" dirty="0">
                <a:solidFill>
                  <a:srgbClr val="000000"/>
                </a:solidFill>
                <a:latin typeface="Consolas" charset="0"/>
                <a:ea typeface="Consolas" charset="0"/>
                <a:cs typeface="Consolas" charset="0"/>
              </a:rPr>
              <a:t>()</a:t>
            </a:r>
          </a:p>
        </p:txBody>
      </p:sp>
      <p:sp>
        <p:nvSpPr>
          <p:cNvPr id="5" name="TextBox 4"/>
          <p:cNvSpPr txBox="1"/>
          <p:nvPr/>
        </p:nvSpPr>
        <p:spPr>
          <a:xfrm>
            <a:off x="8561853" y="1791913"/>
            <a:ext cx="2895600" cy="2277547"/>
          </a:xfrm>
          <a:prstGeom prst="rect">
            <a:avLst/>
          </a:prstGeom>
          <a:noFill/>
        </p:spPr>
        <p:txBody>
          <a:bodyPr wrap="square" lIns="121917" tIns="60958" rIns="121917" bIns="60958" rtlCol="0">
            <a:spAutoFit/>
          </a:bodyPr>
          <a:lstStyle/>
          <a:p>
            <a:r>
              <a:rPr lang="en-US" sz="2800" dirty="0">
                <a:latin typeface="Source Sans Pro" charset="0"/>
                <a:ea typeface="Source Sans Pro" charset="0"/>
                <a:cs typeface="Source Sans Pro" charset="0"/>
              </a:rPr>
              <a:t>Full API Docs</a:t>
            </a:r>
          </a:p>
          <a:p>
            <a:pPr marL="457189" indent="-457189">
              <a:buFont typeface="Arial" charset="0"/>
              <a:buChar char="•"/>
            </a:pPr>
            <a:r>
              <a:rPr lang="en-US" sz="2800" dirty="0">
                <a:latin typeface="Source Sans Pro" charset="0"/>
                <a:ea typeface="Source Sans Pro" charset="0"/>
                <a:cs typeface="Source Sans Pro" charset="0"/>
                <a:hlinkClick r:id="rId3"/>
              </a:rPr>
              <a:t>Scala</a:t>
            </a:r>
            <a:endParaRPr lang="en-US" sz="2800" dirty="0">
              <a:latin typeface="Source Sans Pro" charset="0"/>
              <a:ea typeface="Source Sans Pro" charset="0"/>
              <a:cs typeface="Source Sans Pro" charset="0"/>
            </a:endParaRPr>
          </a:p>
          <a:p>
            <a:pPr marL="457189" indent="-457189">
              <a:buFont typeface="Arial" charset="0"/>
              <a:buChar char="•"/>
            </a:pPr>
            <a:r>
              <a:rPr lang="en-US" sz="2800" dirty="0">
                <a:latin typeface="Source Sans Pro" charset="0"/>
                <a:ea typeface="Source Sans Pro" charset="0"/>
                <a:cs typeface="Source Sans Pro" charset="0"/>
                <a:hlinkClick r:id="rId4"/>
              </a:rPr>
              <a:t>Java</a:t>
            </a:r>
            <a:endParaRPr lang="en-US" sz="2800" dirty="0">
              <a:latin typeface="Source Sans Pro" charset="0"/>
              <a:ea typeface="Source Sans Pro" charset="0"/>
              <a:cs typeface="Source Sans Pro" charset="0"/>
            </a:endParaRPr>
          </a:p>
          <a:p>
            <a:pPr marL="457189" indent="-457189">
              <a:buFont typeface="Arial" charset="0"/>
              <a:buChar char="•"/>
            </a:pPr>
            <a:r>
              <a:rPr lang="en-US" sz="2800" dirty="0">
                <a:latin typeface="Source Sans Pro" charset="0"/>
                <a:ea typeface="Source Sans Pro" charset="0"/>
                <a:cs typeface="Source Sans Pro" charset="0"/>
                <a:hlinkClick r:id="rId5"/>
              </a:rPr>
              <a:t>Python</a:t>
            </a:r>
            <a:endParaRPr lang="en-US" sz="2800" dirty="0">
              <a:latin typeface="Source Sans Pro" charset="0"/>
              <a:ea typeface="Source Sans Pro" charset="0"/>
              <a:cs typeface="Source Sans Pro" charset="0"/>
            </a:endParaRPr>
          </a:p>
          <a:p>
            <a:pPr marL="457189" indent="-457189">
              <a:buFont typeface="Arial" charset="0"/>
              <a:buChar char="•"/>
            </a:pPr>
            <a:r>
              <a:rPr lang="en-US" sz="2800" dirty="0">
                <a:latin typeface="Source Sans Pro" charset="0"/>
                <a:ea typeface="Source Sans Pro" charset="0"/>
                <a:cs typeface="Source Sans Pro" charset="0"/>
                <a:hlinkClick r:id="rId6"/>
              </a:rPr>
              <a:t>R</a:t>
            </a:r>
            <a:endParaRPr lang="en-US" sz="2800" dirty="0">
              <a:latin typeface="Source Sans Pro" charset="0"/>
              <a:ea typeface="Source Sans Pro" charset="0"/>
              <a:cs typeface="Source Sans Pro" charset="0"/>
            </a:endParaRPr>
          </a:p>
        </p:txBody>
      </p:sp>
      <p:pic>
        <p:nvPicPr>
          <p:cNvPr id="17" name="Picture 1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728198" y="4628995"/>
            <a:ext cx="189391" cy="278983"/>
          </a:xfrm>
          <a:prstGeom prst="rect">
            <a:avLst/>
          </a:prstGeom>
        </p:spPr>
      </p:pic>
      <p:pic>
        <p:nvPicPr>
          <p:cNvPr id="18" name="Picture 17"/>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878113" y="2142130"/>
            <a:ext cx="189391" cy="278983"/>
          </a:xfrm>
          <a:prstGeom prst="rect">
            <a:avLst/>
          </a:prstGeom>
        </p:spPr>
      </p:pic>
      <p:sp>
        <p:nvSpPr>
          <p:cNvPr id="16" name="Title 1"/>
          <p:cNvSpPr txBox="1">
            <a:spLocks/>
          </p:cNvSpPr>
          <p:nvPr/>
        </p:nvSpPr>
        <p:spPr bwMode="auto">
          <a:xfrm>
            <a:off x="141598" y="18104"/>
            <a:ext cx="11926713" cy="1143000"/>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1898" tIns="60949" rIns="121898" bIns="60949" numCol="1" anchor="t" anchorCtr="0" compatLnSpc="1">
            <a:prstTxWarp prst="textNoShape">
              <a:avLst/>
            </a:prstTxWarp>
            <a:noAutofit/>
          </a:bodyPr>
          <a:lstStyle>
            <a:lvl1pPr algn="l" defTabSz="609475" rtl="0" eaLnBrk="1" fontAlgn="base" hangingPunct="1">
              <a:spcBef>
                <a:spcPct val="0"/>
              </a:spcBef>
              <a:spcAft>
                <a:spcPct val="0"/>
              </a:spcAft>
              <a:defRPr sz="5300" kern="1200">
                <a:solidFill>
                  <a:schemeClr val="tx1">
                    <a:lumMod val="75000"/>
                    <a:lumOff val="25000"/>
                  </a:schemeClr>
                </a:solidFill>
                <a:latin typeface="Newslab Thin"/>
                <a:ea typeface="ＭＳ Ｐゴシック" charset="0"/>
                <a:cs typeface="Newslab Thin"/>
              </a:defRPr>
            </a:lvl1pPr>
            <a:lvl2pPr algn="l" defTabSz="609475" rtl="0" eaLnBrk="1" fontAlgn="base" hangingPunct="1">
              <a:spcBef>
                <a:spcPct val="0"/>
              </a:spcBef>
              <a:spcAft>
                <a:spcPct val="0"/>
              </a:spcAft>
              <a:defRPr sz="5300">
                <a:solidFill>
                  <a:schemeClr val="tx1"/>
                </a:solidFill>
                <a:latin typeface="Newslab Light" charset="0"/>
                <a:ea typeface="ＭＳ Ｐゴシック" charset="0"/>
              </a:defRPr>
            </a:lvl2pPr>
            <a:lvl3pPr algn="l" defTabSz="609475" rtl="0" eaLnBrk="1" fontAlgn="base" hangingPunct="1">
              <a:spcBef>
                <a:spcPct val="0"/>
              </a:spcBef>
              <a:spcAft>
                <a:spcPct val="0"/>
              </a:spcAft>
              <a:defRPr sz="5300">
                <a:solidFill>
                  <a:schemeClr val="tx1"/>
                </a:solidFill>
                <a:latin typeface="Newslab Light" charset="0"/>
                <a:ea typeface="ＭＳ Ｐゴシック" charset="0"/>
              </a:defRPr>
            </a:lvl3pPr>
            <a:lvl4pPr algn="l" defTabSz="609475" rtl="0" eaLnBrk="1" fontAlgn="base" hangingPunct="1">
              <a:spcBef>
                <a:spcPct val="0"/>
              </a:spcBef>
              <a:spcAft>
                <a:spcPct val="0"/>
              </a:spcAft>
              <a:defRPr sz="5300">
                <a:solidFill>
                  <a:schemeClr val="tx1"/>
                </a:solidFill>
                <a:latin typeface="Newslab Light" charset="0"/>
                <a:ea typeface="ＭＳ Ｐゴシック" charset="0"/>
              </a:defRPr>
            </a:lvl4pPr>
            <a:lvl5pPr algn="l" defTabSz="609475" rtl="0" eaLnBrk="1" fontAlgn="base" hangingPunct="1">
              <a:spcBef>
                <a:spcPct val="0"/>
              </a:spcBef>
              <a:spcAft>
                <a:spcPct val="0"/>
              </a:spcAft>
              <a:defRPr sz="5300">
                <a:solidFill>
                  <a:schemeClr val="tx1"/>
                </a:solidFill>
                <a:latin typeface="Newslab Light" charset="0"/>
                <a:ea typeface="ＭＳ Ｐゴシック" charset="0"/>
              </a:defRPr>
            </a:lvl5pPr>
            <a:lvl6pPr marL="609475" algn="l" defTabSz="609475" rtl="0" eaLnBrk="1" fontAlgn="base" hangingPunct="1">
              <a:spcBef>
                <a:spcPct val="0"/>
              </a:spcBef>
              <a:spcAft>
                <a:spcPct val="0"/>
              </a:spcAft>
              <a:defRPr sz="5300">
                <a:solidFill>
                  <a:schemeClr val="tx1"/>
                </a:solidFill>
                <a:latin typeface="Newslab Light" charset="0"/>
                <a:ea typeface="ＭＳ Ｐゴシック" charset="0"/>
              </a:defRPr>
            </a:lvl6pPr>
            <a:lvl7pPr marL="1218960" algn="l" defTabSz="609475" rtl="0" eaLnBrk="1" fontAlgn="base" hangingPunct="1">
              <a:spcBef>
                <a:spcPct val="0"/>
              </a:spcBef>
              <a:spcAft>
                <a:spcPct val="0"/>
              </a:spcAft>
              <a:defRPr sz="5300">
                <a:solidFill>
                  <a:schemeClr val="tx1"/>
                </a:solidFill>
                <a:latin typeface="Newslab Light" charset="0"/>
                <a:ea typeface="ＭＳ Ｐゴシック" charset="0"/>
              </a:defRPr>
            </a:lvl7pPr>
            <a:lvl8pPr marL="1828437" algn="l" defTabSz="609475" rtl="0" eaLnBrk="1" fontAlgn="base" hangingPunct="1">
              <a:spcBef>
                <a:spcPct val="0"/>
              </a:spcBef>
              <a:spcAft>
                <a:spcPct val="0"/>
              </a:spcAft>
              <a:defRPr sz="5300">
                <a:solidFill>
                  <a:schemeClr val="tx1"/>
                </a:solidFill>
                <a:latin typeface="Newslab Light" charset="0"/>
                <a:ea typeface="ＭＳ Ｐゴシック" charset="0"/>
              </a:defRPr>
            </a:lvl8pPr>
            <a:lvl9pPr marL="2437918" algn="l" defTabSz="609475" rtl="0" eaLnBrk="1" fontAlgn="base" hangingPunct="1">
              <a:spcBef>
                <a:spcPct val="0"/>
              </a:spcBef>
              <a:spcAft>
                <a:spcPct val="0"/>
              </a:spcAft>
              <a:defRPr sz="5300">
                <a:solidFill>
                  <a:schemeClr val="tx1"/>
                </a:solidFill>
                <a:latin typeface="Newslab Light" charset="0"/>
                <a:ea typeface="ＭＳ Ｐゴシック" charset="0"/>
              </a:defRPr>
            </a:lvl9pPr>
          </a:lstStyle>
          <a:p>
            <a:r>
              <a:rPr lang="en-US" smtClean="0"/>
              <a:t>Write Less Code: Compute an Average</a:t>
            </a:r>
            <a:endParaRPr lang="en-US" dirty="0"/>
          </a:p>
        </p:txBody>
      </p:sp>
    </p:spTree>
    <p:extLst>
      <p:ext uri="{BB962C8B-B14F-4D97-AF65-F5344CB8AC3E}">
        <p14:creationId xmlns:p14="http://schemas.microsoft.com/office/powerpoint/2010/main" val="53561523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Creating DataFrames from data sources</a:t>
            </a:r>
          </a:p>
        </p:txBody>
      </p:sp>
      <p:sp>
        <p:nvSpPr>
          <p:cNvPr id="5" name="TextBox 4"/>
          <p:cNvSpPr txBox="1"/>
          <p:nvPr/>
        </p:nvSpPr>
        <p:spPr>
          <a:xfrm>
            <a:off x="455995" y="2293796"/>
            <a:ext cx="10209846" cy="2321454"/>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a:t>
            </a:r>
            <a:r>
              <a:rPr lang="en-US" sz="1372" kern="0" dirty="0">
                <a:solidFill>
                  <a:schemeClr val="accent2">
                    <a:lumMod val="20000"/>
                    <a:lumOff val="80000"/>
                  </a:schemeClr>
                </a:solidFill>
                <a:latin typeface="Consolas" panose="020B0609020204030204" pitchFamily="49" charset="0"/>
              </a:rPr>
              <a:t> </a:t>
            </a:r>
            <a:r>
              <a:rPr lang="en-US" sz="1372" kern="0" dirty="0">
                <a:solidFill>
                  <a:schemeClr val="accent2"/>
                </a:solidFill>
                <a:latin typeface="Consolas" panose="020B0609020204030204" pitchFamily="49" charset="0"/>
              </a:rPr>
              <a:t>val</a:t>
            </a:r>
            <a:r>
              <a:rPr lang="en-US" sz="1372" kern="0" dirty="0">
                <a:solidFill>
                  <a:schemeClr val="accent2">
                    <a:lumMod val="20000"/>
                    <a:lumOff val="80000"/>
                  </a:schemeClr>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df = sqlContext.jsonFile(”</a:t>
            </a:r>
            <a:r>
              <a:rPr lang="en-US" sz="1372" kern="0" dirty="0">
                <a:solidFill>
                  <a:schemeClr val="accent1">
                    <a:lumMod val="50000"/>
                  </a:schemeClr>
                </a:solidFill>
                <a:latin typeface="Consolas" panose="020B0609020204030204" pitchFamily="49" charset="0"/>
              </a:rPr>
              <a:t>somejasonfile.json</a:t>
            </a:r>
            <a:r>
              <a:rPr lang="en-US" sz="1372" kern="0" dirty="0">
                <a:solidFill>
                  <a:schemeClr val="tx1">
                    <a:lumMod val="75000"/>
                    <a:lumOff val="25000"/>
                  </a:schemeClr>
                </a:solidFill>
                <a:latin typeface="Consolas" panose="020B0609020204030204" pitchFamily="49" charset="0"/>
              </a:rPr>
              <a:t>“)			      </a:t>
            </a:r>
            <a:r>
              <a:rPr lang="en-US" sz="1372" kern="0" dirty="0">
                <a:solidFill>
                  <a:schemeClr val="accent4">
                    <a:lumMod val="75000"/>
                  </a:schemeClr>
                </a:solidFill>
                <a:latin typeface="Consolas" panose="020B0609020204030204" pitchFamily="49" charset="0"/>
              </a:rPr>
              <a:t>//from JSON fil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latin typeface="Consolas" panose="020B0609020204030204" pitchFamily="49" charset="0"/>
              </a:rPr>
              <a:t> df = hiveContext.table(”</a:t>
            </a:r>
            <a:r>
              <a:rPr lang="en-US" sz="1372" kern="0" dirty="0">
                <a:solidFill>
                  <a:schemeClr val="accent1">
                    <a:lumMod val="50000"/>
                  </a:schemeClr>
                </a:solidFill>
                <a:latin typeface="Consolas" panose="020B0609020204030204" pitchFamily="49" charset="0"/>
              </a:rPr>
              <a:t>somehivetable</a:t>
            </a:r>
            <a:r>
              <a:rPr lang="en-US" sz="1372" kern="0" dirty="0">
                <a:latin typeface="Consolas" panose="020B0609020204030204" pitchFamily="49" charset="0"/>
              </a:rPr>
              <a:t>“)				       </a:t>
            </a:r>
            <a:r>
              <a:rPr lang="en-US" sz="1372" kern="0" dirty="0">
                <a:solidFill>
                  <a:schemeClr val="accent4">
                    <a:lumMod val="75000"/>
                  </a:schemeClr>
                </a:solidFill>
                <a:latin typeface="Consolas" panose="020B0609020204030204" pitchFamily="49" charset="0"/>
              </a:rPr>
              <a:t>//from a  Hive Tabl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df = sqlContext.parquetFile(”</a:t>
            </a:r>
            <a:r>
              <a:rPr lang="en-US" sz="1372" kern="0" dirty="0">
                <a:solidFill>
                  <a:schemeClr val="accent1">
                    <a:lumMod val="50000"/>
                  </a:schemeClr>
                </a:solidFill>
                <a:latin typeface="Consolas" panose="020B0609020204030204" pitchFamily="49" charset="0"/>
              </a:rPr>
              <a:t>someparquetsource</a:t>
            </a:r>
            <a:r>
              <a:rPr lang="en-US" sz="1372" kern="0" dirty="0">
                <a:solidFill>
                  <a:schemeClr val="tx1">
                    <a:lumMod val="75000"/>
                    <a:lumOff val="25000"/>
                  </a:schemeClr>
                </a:solidFill>
                <a:latin typeface="Consolas" panose="020B0609020204030204" pitchFamily="49" charset="0"/>
              </a:rPr>
              <a:t>“)			       </a:t>
            </a:r>
            <a:r>
              <a:rPr lang="en-US" sz="1372" kern="0" dirty="0">
                <a:solidFill>
                  <a:schemeClr val="accent4">
                    <a:lumMod val="75000"/>
                  </a:schemeClr>
                </a:solidFill>
                <a:latin typeface="Consolas" panose="020B0609020204030204" pitchFamily="49" charset="0"/>
              </a:rPr>
              <a:t>//from a parquet fil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df = sqlContext.load(source="jdbc", url=“UrlToConnect", dbtable=“tablename")</a:t>
            </a:r>
            <a:r>
              <a:rPr lang="en-US" sz="1372" kern="0" dirty="0">
                <a:solidFill>
                  <a:schemeClr val="accent4">
                    <a:lumMod val="75000"/>
                  </a:schemeClr>
                </a:solidFill>
                <a:latin typeface="Consolas" panose="020B0609020204030204" pitchFamily="49" charset="0"/>
              </a:rPr>
              <a:t>//from JDBC source</a:t>
            </a:r>
          </a:p>
        </p:txBody>
      </p:sp>
      <p:sp>
        <p:nvSpPr>
          <p:cNvPr id="10" name="TextBox 9"/>
          <p:cNvSpPr txBox="1"/>
          <p:nvPr/>
        </p:nvSpPr>
        <p:spPr>
          <a:xfrm>
            <a:off x="1" y="1187939"/>
            <a:ext cx="8480463" cy="905179"/>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Aft>
                <a:spcPts val="588"/>
              </a:spcAft>
              <a:buNone/>
              <a:tabLst>
                <a:tab pos="632806" algn="l"/>
              </a:tabLst>
            </a:pPr>
            <a:r>
              <a:rPr lang="en-US" sz="1765" kern="0" dirty="0"/>
              <a:t>A Spark data source can read in-data to create DataFrames, which has a schema that Spark understands. Examples include: JSON files, JDBC source, Parquet, and Hive tables. </a:t>
            </a:r>
          </a:p>
        </p:txBody>
      </p:sp>
      <p:sp>
        <p:nvSpPr>
          <p:cNvPr id="14" name="TextBox 13"/>
          <p:cNvSpPr txBox="1"/>
          <p:nvPr/>
        </p:nvSpPr>
        <p:spPr>
          <a:xfrm>
            <a:off x="1" y="5062218"/>
            <a:ext cx="10665840" cy="633625"/>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588"/>
              </a:spcAft>
              <a:buNone/>
              <a:tabLst>
                <a:tab pos="632806" algn="l"/>
              </a:tabLst>
            </a:pPr>
            <a:r>
              <a:rPr lang="en-US" sz="1765" kern="0" dirty="0">
                <a:solidFill>
                  <a:srgbClr val="CB3B1D"/>
                </a:solidFill>
              </a:rPr>
              <a:t>* Note that the file that is offered as </a:t>
            </a:r>
            <a:r>
              <a:rPr lang="en-US" sz="1765" i="1" kern="0" dirty="0">
                <a:solidFill>
                  <a:srgbClr val="CB3B1D"/>
                </a:solidFill>
              </a:rPr>
              <a:t>jsonFile</a:t>
            </a:r>
            <a:r>
              <a:rPr lang="en-US" sz="1765" kern="0" dirty="0">
                <a:solidFill>
                  <a:srgbClr val="CB3B1D"/>
                </a:solidFill>
              </a:rPr>
              <a:t> is not a typical JSON file. Each line must contain a separate, self-contained valid JSON object. A regular multi-line JSON file will most often fail.</a:t>
            </a:r>
          </a:p>
        </p:txBody>
      </p:sp>
    </p:spTree>
    <p:extLst>
      <p:ext uri="{BB962C8B-B14F-4D97-AF65-F5344CB8AC3E}">
        <p14:creationId xmlns:p14="http://schemas.microsoft.com/office/powerpoint/2010/main" val="25306437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Creating DataFrames from RDDs</a:t>
            </a:r>
          </a:p>
        </p:txBody>
      </p:sp>
      <p:sp>
        <p:nvSpPr>
          <p:cNvPr id="10" name="TextBox 9"/>
          <p:cNvSpPr txBox="1"/>
          <p:nvPr/>
        </p:nvSpPr>
        <p:spPr>
          <a:xfrm>
            <a:off x="455995" y="1743495"/>
            <a:ext cx="8568796" cy="905179"/>
          </a:xfrm>
          <a:prstGeom prst="rect">
            <a:avLst/>
          </a:prstGeom>
          <a:noFill/>
          <a:ln>
            <a:noFill/>
          </a:ln>
        </p:spPr>
        <p:txBody>
          <a:bodyPr wrap="square" lIns="44821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334589" lvl="1" indent="-334589" defTabSz="895769">
              <a:lnSpc>
                <a:spcPct val="100000"/>
              </a:lnSpc>
              <a:spcBef>
                <a:spcPts val="600"/>
              </a:spcBef>
              <a:spcAft>
                <a:spcPts val="588"/>
              </a:spcAft>
              <a:buFont typeface="+mj-lt"/>
              <a:buAutoNum type="arabicPeriod"/>
              <a:tabLst>
                <a:tab pos="632806" algn="l"/>
              </a:tabLst>
            </a:pPr>
            <a:r>
              <a:rPr lang="en-US" sz="1765" b="1" kern="0" dirty="0"/>
              <a:t>Use reflection: </a:t>
            </a:r>
            <a:r>
              <a:rPr lang="en-US" sz="1765" kern="0" dirty="0"/>
              <a:t>Infer the schema of an RDD that contains specific types of objects. This approach leads to more concise code. It works well when you already know the schema while writing your Spark application.</a:t>
            </a:r>
          </a:p>
        </p:txBody>
      </p:sp>
      <p:sp>
        <p:nvSpPr>
          <p:cNvPr id="8" name="TextBox 7"/>
          <p:cNvSpPr txBox="1"/>
          <p:nvPr/>
        </p:nvSpPr>
        <p:spPr>
          <a:xfrm>
            <a:off x="455995" y="2905192"/>
            <a:ext cx="8568796" cy="1176733"/>
          </a:xfrm>
          <a:prstGeom prst="rect">
            <a:avLst/>
          </a:prstGeom>
          <a:noFill/>
          <a:ln>
            <a:noFill/>
          </a:ln>
        </p:spPr>
        <p:txBody>
          <a:bodyPr wrap="square" lIns="44821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326808" lvl="1" indent="-326808" defTabSz="895769">
              <a:lnSpc>
                <a:spcPct val="100000"/>
              </a:lnSpc>
              <a:spcAft>
                <a:spcPts val="588"/>
              </a:spcAft>
              <a:buFont typeface="+mj-lt"/>
              <a:buAutoNum type="arabicPeriod" startAt="2"/>
              <a:tabLst>
                <a:tab pos="632806" algn="l"/>
              </a:tabLst>
            </a:pPr>
            <a:r>
              <a:rPr lang="en-US" sz="1765" b="1" kern="0" dirty="0"/>
              <a:t>Specify the schema programmatically: </a:t>
            </a:r>
            <a:r>
              <a:rPr lang="en-US" sz="1765" kern="0" dirty="0"/>
              <a:t>Enables you to construct a schema then apply it to an existing RDD. This method is more verbose, but it enables you to construct DataFrames when the columns and their types are not known until runtime.</a:t>
            </a:r>
          </a:p>
        </p:txBody>
      </p:sp>
      <p:sp>
        <p:nvSpPr>
          <p:cNvPr id="12" name="TextBox 11"/>
          <p:cNvSpPr txBox="1"/>
          <p:nvPr/>
        </p:nvSpPr>
        <p:spPr>
          <a:xfrm>
            <a:off x="1" y="1194692"/>
            <a:ext cx="8333592" cy="418191"/>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2353" kern="0" dirty="0">
                <a:solidFill>
                  <a:srgbClr val="CB3B1D"/>
                </a:solidFill>
                <a:latin typeface="+mj-lt"/>
              </a:rPr>
              <a:t>Create DataFrames from existing RDDs in two ways:</a:t>
            </a:r>
          </a:p>
        </p:txBody>
      </p:sp>
      <p:sp>
        <p:nvSpPr>
          <p:cNvPr id="14" name="TextBox 13"/>
          <p:cNvSpPr txBox="1"/>
          <p:nvPr/>
        </p:nvSpPr>
        <p:spPr>
          <a:xfrm>
            <a:off x="1" y="4410712"/>
            <a:ext cx="10057149" cy="416383"/>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2353" kern="0" dirty="0">
                <a:solidFill>
                  <a:srgbClr val="CB3B1D"/>
                </a:solidFill>
                <a:latin typeface="+mj-lt"/>
              </a:rPr>
              <a:t>Create DataFrames from existing a JSON RDD, using the </a:t>
            </a:r>
            <a:r>
              <a:rPr lang="en-US" sz="2353" i="1" kern="0" dirty="0">
                <a:solidFill>
                  <a:srgbClr val="CB3B1D"/>
                </a:solidFill>
                <a:latin typeface="+mj-lt"/>
              </a:rPr>
              <a:t>jsonRDD</a:t>
            </a:r>
            <a:r>
              <a:rPr lang="en-US" sz="2353" kern="0" dirty="0">
                <a:solidFill>
                  <a:srgbClr val="CB3B1D"/>
                </a:solidFill>
                <a:latin typeface="+mj-lt"/>
              </a:rPr>
              <a:t> function. </a:t>
            </a:r>
          </a:p>
        </p:txBody>
      </p:sp>
      <p:sp>
        <p:nvSpPr>
          <p:cNvPr id="15" name="TextBox 14"/>
          <p:cNvSpPr txBox="1"/>
          <p:nvPr/>
        </p:nvSpPr>
        <p:spPr>
          <a:xfrm>
            <a:off x="455995" y="5083613"/>
            <a:ext cx="9907095" cy="688941"/>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ts val="26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df = sqlContext.jsonRDD(anUserRDD)</a:t>
            </a:r>
          </a:p>
        </p:txBody>
      </p:sp>
    </p:spTree>
    <p:extLst>
      <p:ext uri="{BB962C8B-B14F-4D97-AF65-F5344CB8AC3E}">
        <p14:creationId xmlns:p14="http://schemas.microsoft.com/office/powerpoint/2010/main" val="17142677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DataFrame operations</a:t>
            </a:r>
          </a:p>
        </p:txBody>
      </p:sp>
      <p:sp>
        <p:nvSpPr>
          <p:cNvPr id="4" name="TextBox 3"/>
          <p:cNvSpPr txBox="1"/>
          <p:nvPr/>
        </p:nvSpPr>
        <p:spPr>
          <a:xfrm>
            <a:off x="1" y="1187940"/>
            <a:ext cx="8796168" cy="887075"/>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10000"/>
              </a:lnSpc>
              <a:spcBef>
                <a:spcPts val="600"/>
              </a:spcBef>
              <a:spcAft>
                <a:spcPts val="588"/>
              </a:spcAft>
              <a:buNone/>
              <a:tabLst>
                <a:tab pos="632806" algn="l"/>
              </a:tabLst>
            </a:pPr>
            <a:r>
              <a:rPr lang="en-US" sz="2353" kern="0" dirty="0">
                <a:solidFill>
                  <a:srgbClr val="CB3B1D"/>
                </a:solidFill>
                <a:latin typeface="+mj-lt"/>
              </a:rPr>
              <a:t>DataFrames provide a domain-specific language for structured data manipulation in Scala, Java, and Python.</a:t>
            </a:r>
          </a:p>
        </p:txBody>
      </p:sp>
      <p:sp>
        <p:nvSpPr>
          <p:cNvPr id="5" name="TextBox 4"/>
          <p:cNvSpPr txBox="1"/>
          <p:nvPr/>
        </p:nvSpPr>
        <p:spPr>
          <a:xfrm>
            <a:off x="664751" y="2309090"/>
            <a:ext cx="10843113" cy="2955361"/>
          </a:xfrm>
          <a:prstGeom prst="rect">
            <a:avLst/>
          </a:prstGeom>
          <a:solidFill>
            <a:schemeClr val="bg1">
              <a:lumMod val="95000"/>
            </a:schemeClr>
          </a:solidFill>
          <a:ln w="63500">
            <a:solidFill>
              <a:srgbClr val="D94913"/>
            </a:solid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val df = sqlContext.jsonFile(”</a:t>
            </a:r>
            <a:r>
              <a:rPr lang="en-US" sz="1372" kern="0" dirty="0">
                <a:solidFill>
                  <a:schemeClr val="accent1">
                    <a:lumMod val="50000"/>
                  </a:schemeClr>
                </a:solidFill>
                <a:latin typeface="Consolas" panose="020B0609020204030204" pitchFamily="49" charset="0"/>
              </a:rPr>
              <a:t>somejasonfile.json</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latin typeface="Consolas" panose="020B0609020204030204" pitchFamily="49" charset="0"/>
              </a:rPr>
              <a:t>df.show()				 	</a:t>
            </a:r>
            <a:r>
              <a:rPr lang="en-US" sz="1372" kern="0" dirty="0">
                <a:solidFill>
                  <a:schemeClr val="accent4">
                    <a:lumMod val="75000"/>
                  </a:schemeClr>
                </a:solidFill>
                <a:latin typeface="Consolas" panose="020B0609020204030204" pitchFamily="49" charset="0"/>
              </a:rPr>
              <a:t>//</a:t>
            </a:r>
            <a:r>
              <a:rPr lang="en-US" sz="1372" i="1" kern="0" dirty="0">
                <a:solidFill>
                  <a:schemeClr val="accent4">
                    <a:lumMod val="75000"/>
                  </a:schemeClr>
                </a:solidFill>
                <a:latin typeface="Consolas" panose="020B0609020204030204" pitchFamily="49" charset="0"/>
              </a:rPr>
              <a:t> </a:t>
            </a:r>
            <a:r>
              <a:rPr lang="en-US" sz="1372" kern="0" dirty="0">
                <a:solidFill>
                  <a:schemeClr val="accent4">
                    <a:lumMod val="75000"/>
                  </a:schemeClr>
                </a:solidFill>
                <a:latin typeface="Consolas" panose="020B0609020204030204" pitchFamily="49" charset="0"/>
              </a:rPr>
              <a:t>Show the contents of the DataFram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printSchema()				</a:t>
            </a:r>
            <a:r>
              <a:rPr lang="en-US" sz="1372" kern="0" dirty="0">
                <a:solidFill>
                  <a:schemeClr val="accent4">
                    <a:lumMod val="75000"/>
                  </a:schemeClr>
                </a:solidFill>
                <a:latin typeface="Consolas" panose="020B0609020204030204" pitchFamily="49" charset="0"/>
              </a:rPr>
              <a:t>// Print the schema in a tree format</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select(“name”).show()			</a:t>
            </a:r>
            <a:r>
              <a:rPr lang="en-US" sz="1372" kern="0" dirty="0">
                <a:solidFill>
                  <a:schemeClr val="accent4">
                    <a:lumMod val="75000"/>
                  </a:schemeClr>
                </a:solidFill>
                <a:latin typeface="Consolas" panose="020B0609020204030204" pitchFamily="49" charset="0"/>
              </a:rPr>
              <a:t>// Select and show the name columns</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select(df(”name”),df (“age”) +1).show() 	</a:t>
            </a:r>
            <a:r>
              <a:rPr lang="en-US" sz="1372" kern="0" dirty="0">
                <a:solidFill>
                  <a:schemeClr val="accent4">
                    <a:lumMod val="75000"/>
                  </a:schemeClr>
                </a:solidFill>
                <a:latin typeface="Consolas" panose="020B0609020204030204" pitchFamily="49" charset="0"/>
              </a:rPr>
              <a:t>// Select all but increment the age by 1</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filter(df(”age”) &gt; 21).show()		</a:t>
            </a:r>
            <a:r>
              <a:rPr lang="en-US" sz="1372" kern="0" dirty="0">
                <a:solidFill>
                  <a:schemeClr val="accent4">
                    <a:lumMod val="75000"/>
                  </a:schemeClr>
                </a:solidFill>
                <a:latin typeface="Consolas" panose="020B0609020204030204" pitchFamily="49" charset="0"/>
              </a:rPr>
              <a:t>// Select people older than 21</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groupBy(“age”).count().show()		</a:t>
            </a:r>
            <a:r>
              <a:rPr lang="en-US" sz="1372" kern="0" dirty="0">
                <a:solidFill>
                  <a:schemeClr val="accent4">
                    <a:lumMod val="75000"/>
                  </a:schemeClr>
                </a:solidFill>
                <a:latin typeface="Consolas" panose="020B0609020204030204" pitchFamily="49" charset="0"/>
              </a:rPr>
              <a:t>// Count people by age</a:t>
            </a:r>
          </a:p>
        </p:txBody>
      </p:sp>
    </p:spTree>
    <p:extLst>
      <p:ext uri="{BB962C8B-B14F-4D97-AF65-F5344CB8AC3E}">
        <p14:creationId xmlns:p14="http://schemas.microsoft.com/office/powerpoint/2010/main" val="2523374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Tables and queries</a:t>
            </a:r>
          </a:p>
        </p:txBody>
      </p:sp>
      <p:sp>
        <p:nvSpPr>
          <p:cNvPr id="4" name="TextBox 3"/>
          <p:cNvSpPr txBox="1"/>
          <p:nvPr/>
        </p:nvSpPr>
        <p:spPr>
          <a:xfrm>
            <a:off x="1" y="1182716"/>
            <a:ext cx="11464221" cy="490647"/>
          </a:xfrm>
          <a:prstGeom prst="rect">
            <a:avLst/>
          </a:prstGeom>
          <a:noFill/>
          <a:ln>
            <a:noFill/>
          </a:ln>
        </p:spPr>
        <p:txBody>
          <a:bodyPr wrap="square" lIns="35857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defTabSz="895769">
              <a:spcBef>
                <a:spcPts val="588"/>
              </a:spcBef>
              <a:spcAft>
                <a:spcPts val="588"/>
              </a:spcAft>
              <a:tabLst>
                <a:tab pos="632806" algn="l"/>
              </a:tabLst>
            </a:pPr>
            <a:r>
              <a:rPr lang="en-US" sz="2353" kern="0" dirty="0">
                <a:solidFill>
                  <a:srgbClr val="CB3B1D"/>
                </a:solidFill>
                <a:latin typeface="+mj-lt"/>
              </a:rPr>
              <a:t>A DataFrame can be registered as a table that can then be used in SQL queries.</a:t>
            </a:r>
          </a:p>
        </p:txBody>
      </p:sp>
      <p:sp>
        <p:nvSpPr>
          <p:cNvPr id="6" name="TextBox 5"/>
          <p:cNvSpPr txBox="1"/>
          <p:nvPr/>
        </p:nvSpPr>
        <p:spPr>
          <a:xfrm>
            <a:off x="455995" y="1811514"/>
            <a:ext cx="11320547" cy="230177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First create a DataFrame from JSON file.</a:t>
            </a:r>
          </a:p>
          <a:p>
            <a:pPr marL="110472" lvl="1" indent="0" defTabSz="895769">
              <a:lnSpc>
                <a:spcPct val="100000"/>
              </a:lnSpc>
              <a:spcBef>
                <a:spcPts val="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df = sqlContext.jsonFile(”</a:t>
            </a:r>
            <a:r>
              <a:rPr lang="en-US" sz="1372" kern="0" dirty="0">
                <a:solidFill>
                  <a:schemeClr val="accent1">
                    <a:lumMod val="50000"/>
                  </a:schemeClr>
                </a:solidFill>
                <a:latin typeface="Consolas" panose="020B0609020204030204" pitchFamily="49" charset="0"/>
              </a:rPr>
              <a:t>Users.json</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Register the </a:t>
            </a:r>
            <a:r>
              <a:rPr lang="en-US" sz="1372" kern="0" dirty="0" err="1">
                <a:solidFill>
                  <a:schemeClr val="accent4">
                    <a:lumMod val="75000"/>
                  </a:schemeClr>
                </a:solidFill>
                <a:latin typeface="Consolas" panose="020B0609020204030204" pitchFamily="49" charset="0"/>
              </a:rPr>
              <a:t>DataFrame</a:t>
            </a:r>
            <a:r>
              <a:rPr lang="en-US" sz="1372" kern="0" dirty="0">
                <a:solidFill>
                  <a:schemeClr val="accent4">
                    <a:lumMod val="75000"/>
                  </a:schemeClr>
                </a:solidFill>
                <a:latin typeface="Consolas" panose="020B0609020204030204" pitchFamily="49" charset="0"/>
              </a:rPr>
              <a:t> as a temporary table. Temp tables exist only during lifetime of this </a:t>
            </a:r>
            <a:r>
              <a:rPr lang="en-US" sz="1372" kern="0" dirty="0" err="1">
                <a:solidFill>
                  <a:schemeClr val="accent4">
                    <a:lumMod val="75000"/>
                  </a:schemeClr>
                </a:solidFill>
                <a:latin typeface="Consolas" panose="020B0609020204030204" pitchFamily="49" charset="0"/>
              </a:rPr>
              <a:t>SQLContext</a:t>
            </a:r>
            <a:r>
              <a:rPr lang="en-US" sz="1372" kern="0" dirty="0">
                <a:solidFill>
                  <a:schemeClr val="accent4">
                    <a:lumMod val="75000"/>
                  </a:schemeClr>
                </a:solidFill>
                <a:latin typeface="Consolas" panose="020B0609020204030204" pitchFamily="49" charset="0"/>
              </a:rPr>
              <a:t> instance.</a:t>
            </a:r>
          </a:p>
          <a:p>
            <a:pPr marL="110472" lvl="1" indent="0" defTabSz="895769">
              <a:lnSpc>
                <a:spcPct val="100000"/>
              </a:lnSpc>
              <a:spcBef>
                <a:spcPts val="0"/>
              </a:spcBef>
              <a:spcAft>
                <a:spcPts val="1200"/>
              </a:spcAft>
              <a:buNone/>
              <a:tabLst>
                <a:tab pos="632806" algn="l"/>
              </a:tabLst>
            </a:pPr>
            <a:r>
              <a:rPr lang="en-US" sz="1372" kern="0" dirty="0">
                <a:solidFill>
                  <a:schemeClr val="tx1">
                    <a:lumMod val="75000"/>
                    <a:lumOff val="25000"/>
                  </a:schemeClr>
                </a:solidFill>
                <a:latin typeface="Consolas" panose="020B0609020204030204" pitchFamily="49" charset="0"/>
              </a:rPr>
              <a:t> </a:t>
            </a: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usertable = sqlContext.registerDataFrameAsTable(df, “UserTable”) </a:t>
            </a:r>
          </a:p>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Alternatively, execute a SQL query on the table. The query returns a DataFrame. </a:t>
            </a:r>
          </a:p>
          <a:p>
            <a:pPr marL="110472" lvl="1" indent="0" defTabSz="895769">
              <a:lnSpc>
                <a:spcPct val="100000"/>
              </a:lnSpc>
              <a:spcBef>
                <a:spcPts val="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teenagers</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 sqlContext.sql(“select Age as Years from UserTable where age &gt; 13 and age &lt;= 19”) </a:t>
            </a:r>
          </a:p>
        </p:txBody>
      </p:sp>
      <p:pic>
        <p:nvPicPr>
          <p:cNvPr id="4098" name="Picture 2" descr="http://a3.mzstatic.com/us/r30/Purple5/v4/44/a5/81/44a58193-6780-1e38-2ee0-874f8ddf7bdc/icon256-2x.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5196" y="5021751"/>
            <a:ext cx="977050" cy="977050"/>
          </a:xfrm>
          <a:prstGeom prst="rect">
            <a:avLst/>
          </a:prstGeom>
          <a:noFill/>
          <a:extLst>
            <a:ext uri="{909E8E84-426E-40DD-AFC4-6F175D3DCCD1}">
              <a14:hiddenFill xmlns:a14="http://schemas.microsoft.com/office/drawing/2010/main">
                <a:solidFill>
                  <a:srgbClr val="FFFFFF"/>
                </a:solidFill>
              </a14:hiddenFill>
            </a:ext>
          </a:extLst>
        </p:spPr>
      </p:pic>
      <p:sp>
        <p:nvSpPr>
          <p:cNvPr id="7" name="Rounded Rectangle 6"/>
          <p:cNvSpPr/>
          <p:nvPr/>
        </p:nvSpPr>
        <p:spPr bwMode="auto">
          <a:xfrm>
            <a:off x="3448982" y="5035525"/>
            <a:ext cx="1309998" cy="949502"/>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372" b="1" kern="0" dirty="0">
                <a:solidFill>
                  <a:schemeClr val="bg1"/>
                </a:solidFill>
                <a:latin typeface="+mj-lt"/>
                <a:ea typeface="Segoe UI" pitchFamily="34" charset="0"/>
                <a:cs typeface="Segoe UI" pitchFamily="34" charset="0"/>
              </a:rPr>
              <a:t>DataFrame</a:t>
            </a:r>
          </a:p>
        </p:txBody>
      </p:sp>
      <p:pic>
        <p:nvPicPr>
          <p:cNvPr id="4100" name="Picture 4" descr="http://www.clarity-ventures.com/portals/0/images/resources/custom-surveys-poll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69853" y="4987436"/>
            <a:ext cx="990696" cy="990696"/>
          </a:xfrm>
          <a:prstGeom prst="rect">
            <a:avLst/>
          </a:prstGeom>
          <a:noFill/>
          <a:extLst>
            <a:ext uri="{909E8E84-426E-40DD-AFC4-6F175D3DCCD1}">
              <a14:hiddenFill xmlns:a14="http://schemas.microsoft.com/office/drawing/2010/main">
                <a:solidFill>
                  <a:srgbClr val="FFFFFF"/>
                </a:solidFill>
              </a14:hiddenFill>
            </a:ext>
          </a:extLst>
        </p:spPr>
      </p:pic>
      <p:sp>
        <p:nvSpPr>
          <p:cNvPr id="12" name="Rounded Rectangle 11"/>
          <p:cNvSpPr/>
          <p:nvPr/>
        </p:nvSpPr>
        <p:spPr bwMode="auto">
          <a:xfrm>
            <a:off x="10195602" y="5035525"/>
            <a:ext cx="1380152" cy="949502"/>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372" b="1" kern="0" dirty="0">
                <a:solidFill>
                  <a:schemeClr val="bg1"/>
                </a:solidFill>
                <a:latin typeface="+mj-lt"/>
                <a:ea typeface="Segoe UI" pitchFamily="34" charset="0"/>
                <a:cs typeface="Segoe UI" pitchFamily="34" charset="0"/>
              </a:rPr>
              <a:t>DataFrame</a:t>
            </a:r>
          </a:p>
        </p:txBody>
      </p:sp>
      <p:cxnSp>
        <p:nvCxnSpPr>
          <p:cNvPr id="11" name="Straight Arrow Connector 10"/>
          <p:cNvCxnSpPr/>
          <p:nvPr/>
        </p:nvCxnSpPr>
        <p:spPr>
          <a:xfrm flipV="1">
            <a:off x="1649538" y="5510274"/>
            <a:ext cx="1705560" cy="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4921788" y="5510276"/>
            <a:ext cx="1909602" cy="3"/>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8154434" y="5482783"/>
            <a:ext cx="1894342" cy="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069651" y="5121454"/>
            <a:ext cx="914270" cy="441373"/>
          </a:xfrm>
          <a:prstGeom prst="rect">
            <a:avLst/>
          </a:prstGeom>
          <a:noFill/>
        </p:spPr>
        <p:txBody>
          <a:bodyPr wrap="none" lIns="182854" tIns="146284" rIns="182854" bIns="146284" rtlCol="0" anchor="ctr">
            <a:noAutofit/>
          </a:bodyPr>
          <a:lstStyle/>
          <a:p>
            <a:pPr algn="ctr" defTabSz="896386">
              <a:lnSpc>
                <a:spcPct val="90000"/>
              </a:lnSpc>
              <a:spcAft>
                <a:spcPts val="600"/>
              </a:spcAft>
            </a:pPr>
            <a:r>
              <a:rPr lang="en-US" sz="1372" kern="0" dirty="0">
                <a:solidFill>
                  <a:schemeClr val="tx2"/>
                </a:solidFill>
              </a:rPr>
              <a:t>JSON file</a:t>
            </a:r>
          </a:p>
        </p:txBody>
      </p:sp>
      <p:sp>
        <p:nvSpPr>
          <p:cNvPr id="23" name="TextBox 22"/>
          <p:cNvSpPr txBox="1"/>
          <p:nvPr/>
        </p:nvSpPr>
        <p:spPr>
          <a:xfrm>
            <a:off x="4949267" y="5121454"/>
            <a:ext cx="1908758" cy="441373"/>
          </a:xfrm>
          <a:prstGeom prst="rect">
            <a:avLst/>
          </a:prstGeom>
          <a:noFill/>
        </p:spPr>
        <p:txBody>
          <a:bodyPr wrap="none" lIns="182854" tIns="146284" rIns="182854" bIns="146284" rtlCol="0" anchor="ctr">
            <a:noAutofit/>
          </a:bodyPr>
          <a:lstStyle/>
          <a:p>
            <a:pPr algn="ctr" defTabSz="896386">
              <a:lnSpc>
                <a:spcPct val="90000"/>
              </a:lnSpc>
              <a:spcAft>
                <a:spcPts val="600"/>
              </a:spcAft>
            </a:pPr>
            <a:r>
              <a:rPr lang="en-US" sz="1372" kern="0" dirty="0">
                <a:solidFill>
                  <a:schemeClr val="tx2"/>
                </a:solidFill>
              </a:rPr>
              <a:t>Register </a:t>
            </a:r>
            <a:r>
              <a:rPr lang="en-US" sz="1372" kern="0" dirty="0" err="1">
                <a:solidFill>
                  <a:schemeClr val="tx2"/>
                </a:solidFill>
              </a:rPr>
              <a:t>DataFrame</a:t>
            </a:r>
            <a:r>
              <a:rPr lang="en-US" sz="1372" kern="0" dirty="0">
                <a:solidFill>
                  <a:schemeClr val="tx2"/>
                </a:solidFill>
              </a:rPr>
              <a:t> as table</a:t>
            </a:r>
          </a:p>
        </p:txBody>
      </p:sp>
      <p:sp>
        <p:nvSpPr>
          <p:cNvPr id="24" name="TextBox 23"/>
          <p:cNvSpPr txBox="1"/>
          <p:nvPr/>
        </p:nvSpPr>
        <p:spPr>
          <a:xfrm>
            <a:off x="8621929" y="5121454"/>
            <a:ext cx="890075" cy="441373"/>
          </a:xfrm>
          <a:prstGeom prst="rect">
            <a:avLst/>
          </a:prstGeom>
          <a:noFill/>
        </p:spPr>
        <p:txBody>
          <a:bodyPr wrap="none" lIns="182854" tIns="146284" rIns="182854" bIns="146284" rtlCol="0" anchor="ctr">
            <a:noAutofit/>
          </a:bodyPr>
          <a:lstStyle/>
          <a:p>
            <a:pPr algn="ctr" defTabSz="896386">
              <a:lnSpc>
                <a:spcPct val="90000"/>
              </a:lnSpc>
              <a:spcAft>
                <a:spcPts val="600"/>
              </a:spcAft>
            </a:pPr>
            <a:r>
              <a:rPr lang="en-US" sz="1400" kern="0" dirty="0">
                <a:solidFill>
                  <a:schemeClr val="tx2"/>
                </a:solidFill>
              </a:rPr>
              <a:t> </a:t>
            </a:r>
            <a:r>
              <a:rPr lang="en-US" sz="1372" kern="0" dirty="0">
                <a:solidFill>
                  <a:schemeClr val="tx2"/>
                </a:solidFill>
              </a:rPr>
              <a:t>SQL query</a:t>
            </a:r>
          </a:p>
        </p:txBody>
      </p:sp>
    </p:spTree>
    <p:extLst>
      <p:ext uri="{BB962C8B-B14F-4D97-AF65-F5344CB8AC3E}">
        <p14:creationId xmlns:p14="http://schemas.microsoft.com/office/powerpoint/2010/main" val="28823796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Hive tables</a:t>
            </a:r>
          </a:p>
        </p:txBody>
      </p:sp>
      <p:sp>
        <p:nvSpPr>
          <p:cNvPr id="4" name="TextBox 3"/>
          <p:cNvSpPr txBox="1"/>
          <p:nvPr/>
        </p:nvSpPr>
        <p:spPr>
          <a:xfrm>
            <a:off x="1" y="1214636"/>
            <a:ext cx="11117410" cy="490647"/>
          </a:xfrm>
          <a:prstGeom prst="rect">
            <a:avLst/>
          </a:prstGeom>
          <a:noFill/>
          <a:ln>
            <a:noFill/>
          </a:ln>
        </p:spPr>
        <p:txBody>
          <a:bodyPr wrap="square" lIns="35857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defTabSz="895769">
              <a:spcBef>
                <a:spcPts val="588"/>
              </a:spcBef>
              <a:spcAft>
                <a:spcPts val="588"/>
              </a:spcAft>
              <a:tabLst>
                <a:tab pos="632806" algn="l"/>
              </a:tabLst>
            </a:pPr>
            <a:r>
              <a:rPr lang="en-US" sz="2353" kern="0" dirty="0">
                <a:solidFill>
                  <a:srgbClr val="CB3B1D"/>
                </a:solidFill>
                <a:latin typeface="+mj-lt"/>
              </a:rPr>
              <a:t>Spark SQL also supports reading and writing data stored in </a:t>
            </a:r>
            <a:r>
              <a:rPr lang="en-US" sz="2353" b="1" kern="0" dirty="0">
                <a:solidFill>
                  <a:srgbClr val="CB3B1D"/>
                </a:solidFill>
                <a:latin typeface="+mj-lt"/>
              </a:rPr>
              <a:t>Apache Hive</a:t>
            </a:r>
            <a:r>
              <a:rPr lang="en-US" sz="2000" kern="0" dirty="0">
                <a:solidFill>
                  <a:srgbClr val="CB3B1D"/>
                </a:solidFill>
                <a:latin typeface="+mj-lt"/>
              </a:rPr>
              <a:t>.</a:t>
            </a:r>
          </a:p>
        </p:txBody>
      </p:sp>
      <p:sp>
        <p:nvSpPr>
          <p:cNvPr id="6" name="TextBox 5"/>
          <p:cNvSpPr txBox="1"/>
          <p:nvPr/>
        </p:nvSpPr>
        <p:spPr>
          <a:xfrm>
            <a:off x="2062089" y="2395588"/>
            <a:ext cx="8067823" cy="2066825"/>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Create a </a:t>
            </a:r>
            <a:r>
              <a:rPr lang="en-US" sz="1372" kern="0" dirty="0" err="1">
                <a:solidFill>
                  <a:schemeClr val="accent4">
                    <a:lumMod val="75000"/>
                  </a:schemeClr>
                </a:solidFill>
                <a:latin typeface="Consolas" panose="020B0609020204030204" pitchFamily="49" charset="0"/>
              </a:rPr>
              <a:t>HiveContext</a:t>
            </a:r>
            <a:r>
              <a:rPr lang="en-US" sz="1372" kern="0" dirty="0">
                <a:solidFill>
                  <a:schemeClr val="accent4">
                    <a:lumMod val="75000"/>
                  </a:schemeClr>
                </a:solidFill>
                <a:latin typeface="Consolas" panose="020B0609020204030204" pitchFamily="49" charset="0"/>
              </a:rPr>
              <a:t>, which is derived from </a:t>
            </a:r>
            <a:r>
              <a:rPr lang="en-US" sz="1372" kern="0" dirty="0" err="1">
                <a:solidFill>
                  <a:schemeClr val="accent4">
                    <a:lumMod val="75000"/>
                  </a:schemeClr>
                </a:solidFill>
                <a:latin typeface="Consolas" panose="020B0609020204030204" pitchFamily="49" charset="0"/>
              </a:rPr>
              <a:t>SQLContext</a:t>
            </a:r>
            <a:r>
              <a:rPr lang="en-US" sz="1372" kern="0" dirty="0">
                <a:solidFill>
                  <a:schemeClr val="accent4">
                    <a:lumMod val="75000"/>
                  </a:schemeClr>
                </a:solidFill>
                <a:latin typeface="Consolas" panose="020B0609020204030204" pitchFamily="49" charset="0"/>
              </a:rPr>
              <a:t>.</a:t>
            </a:r>
            <a:br>
              <a:rPr lang="en-US" sz="1372" kern="0" dirty="0">
                <a:solidFill>
                  <a:schemeClr val="accent4">
                    <a:lumMod val="75000"/>
                  </a:schemeClr>
                </a:solidFill>
                <a:latin typeface="Consolas" panose="020B0609020204030204" pitchFamily="49" charset="0"/>
              </a:rPr>
            </a:b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sqlContext = new org.apache.spark.sql.hive.</a:t>
            </a:r>
            <a:r>
              <a:rPr lang="en-US" sz="1372" kern="0" dirty="0">
                <a:solidFill>
                  <a:schemeClr val="accent1">
                    <a:lumMod val="75000"/>
                  </a:schemeClr>
                </a:solidFill>
                <a:latin typeface="Consolas" panose="020B0609020204030204" pitchFamily="49" charset="0"/>
              </a:rPr>
              <a:t>HiveContex</a:t>
            </a:r>
            <a:r>
              <a:rPr lang="en-US" sz="1372" kern="0" dirty="0">
                <a:solidFill>
                  <a:schemeClr val="tx1">
                    <a:lumMod val="75000"/>
                    <a:lumOff val="25000"/>
                  </a:schemeClr>
                </a:solidFill>
                <a:latin typeface="Consolas" panose="020B0609020204030204" pitchFamily="49" charset="0"/>
              </a:rPr>
              <a:t>t(sc)</a:t>
            </a:r>
          </a:p>
          <a:p>
            <a:pPr marL="110472" lvl="1" indent="0" defTabSz="895769">
              <a:lnSpc>
                <a:spcPct val="100000"/>
              </a:lnSpc>
              <a:spcBef>
                <a:spcPts val="600"/>
              </a:spcBef>
              <a:spcAft>
                <a:spcPts val="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sqlContext.sql("</a:t>
            </a:r>
            <a:r>
              <a:rPr lang="en-US" sz="1372" kern="0" dirty="0">
                <a:solidFill>
                  <a:schemeClr val="accent1">
                    <a:lumMod val="60000"/>
                    <a:lumOff val="40000"/>
                  </a:schemeClr>
                </a:solidFill>
                <a:latin typeface="Consolas" panose="020B0609020204030204" pitchFamily="49" charset="0"/>
              </a:rPr>
              <a:t>CREATE TABLE IF NOT EXISTS UserTable (key INT, value STRING</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sqlContext.sql("</a:t>
            </a:r>
            <a:r>
              <a:rPr lang="en-US" sz="1372" kern="0" dirty="0">
                <a:solidFill>
                  <a:schemeClr val="accent1">
                    <a:lumMod val="60000"/>
                    <a:lumOff val="40000"/>
                  </a:schemeClr>
                </a:solidFill>
                <a:latin typeface="Consolas" panose="020B0609020204030204" pitchFamily="49" charset="0"/>
              </a:rPr>
              <a:t>LOAD DATA LOCAL INPATH ‘user.txt' INTO TABLE UserTable</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Queries are expressed in </a:t>
            </a:r>
            <a:r>
              <a:rPr lang="en-US" sz="1372" kern="0" dirty="0" err="1">
                <a:solidFill>
                  <a:schemeClr val="accent4">
                    <a:lumMod val="75000"/>
                  </a:schemeClr>
                </a:solidFill>
                <a:latin typeface="Consolas" panose="020B0609020204030204" pitchFamily="49" charset="0"/>
              </a:rPr>
              <a:t>HiveQL</a:t>
            </a:r>
            <a:r>
              <a:rPr lang="en-US" sz="1372" kern="0" dirty="0">
                <a:solidFill>
                  <a:schemeClr val="accent4">
                    <a:lumMod val="75000"/>
                  </a:schemeClr>
                </a:solidFill>
                <a:latin typeface="Consolas" panose="020B0609020204030204" pitchFamily="49" charset="0"/>
              </a:rPr>
              <a:t>.</a:t>
            </a:r>
          </a:p>
          <a:p>
            <a:pPr marL="110472" lvl="1" indent="0" defTabSz="895769">
              <a:lnSpc>
                <a:spcPct val="100000"/>
              </a:lnSpc>
              <a:spcBef>
                <a:spcPts val="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lumMod val="75000"/>
                  </a:schemeClr>
                </a:solidFill>
                <a:latin typeface="Consolas" panose="020B0609020204030204" pitchFamily="49" charset="0"/>
              </a:rPr>
              <a:t>val</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df =</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sqlContext.sql("</a:t>
            </a:r>
            <a:r>
              <a:rPr lang="en-US" sz="1372" kern="0" dirty="0">
                <a:solidFill>
                  <a:schemeClr val="accent1">
                    <a:lumMod val="60000"/>
                    <a:lumOff val="40000"/>
                  </a:schemeClr>
                </a:solidFill>
                <a:latin typeface="Consolas" panose="020B0609020204030204" pitchFamily="49" charset="0"/>
              </a:rPr>
              <a:t>FROM UserTable SELECT Name, Age</a:t>
            </a:r>
            <a:r>
              <a:rPr lang="en-US" sz="1372" kern="0" dirty="0">
                <a:solidFill>
                  <a:schemeClr val="tx1">
                    <a:lumMod val="75000"/>
                    <a:lumOff val="25000"/>
                  </a:schemeClr>
                </a:solidFill>
                <a:latin typeface="Consolas" panose="020B0609020204030204" pitchFamily="49" charset="0"/>
              </a:rPr>
              <a:t>")</a:t>
            </a:r>
          </a:p>
        </p:txBody>
      </p:sp>
    </p:spTree>
    <p:extLst>
      <p:ext uri="{BB962C8B-B14F-4D97-AF65-F5344CB8AC3E}">
        <p14:creationId xmlns:p14="http://schemas.microsoft.com/office/powerpoint/2010/main" val="3073294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2139688"/>
          </a:xfrm>
        </p:spPr>
        <p:txBody>
          <a:bodyPr/>
          <a:lstStyle/>
          <a:p>
            <a:r>
              <a:rPr lang="en-US" dirty="0"/>
              <a:t>Datasets and </a:t>
            </a:r>
            <a:r>
              <a:rPr lang="en-US" dirty="0" err="1"/>
              <a:t>DataFrame</a:t>
            </a:r>
            <a:r>
              <a:rPr lang="en-US" dirty="0"/>
              <a:t> Optimizations Using Catalyst</a:t>
            </a:r>
          </a:p>
        </p:txBody>
      </p:sp>
    </p:spTree>
    <p:extLst>
      <p:ext uri="{BB962C8B-B14F-4D97-AF65-F5344CB8AC3E}">
        <p14:creationId xmlns:p14="http://schemas.microsoft.com/office/powerpoint/2010/main" val="8732617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From RDD to Dataset: What is RDD?</a:t>
            </a:r>
          </a:p>
        </p:txBody>
      </p:sp>
      <p:sp>
        <p:nvSpPr>
          <p:cNvPr id="6" name="Text Placeholder 5"/>
          <p:cNvSpPr>
            <a:spLocks noGrp="1"/>
          </p:cNvSpPr>
          <p:nvPr>
            <p:ph type="body" sz="quarter" idx="4294967295"/>
          </p:nvPr>
        </p:nvSpPr>
        <p:spPr>
          <a:xfrm>
            <a:off x="269239" y="1189495"/>
            <a:ext cx="11653523" cy="2051739"/>
          </a:xfrm>
        </p:spPr>
        <p:txBody>
          <a:bodyPr/>
          <a:lstStyle/>
          <a:p>
            <a:r>
              <a:rPr lang="en-US" dirty="0"/>
              <a:t>Partitions: distributed data</a:t>
            </a:r>
          </a:p>
          <a:p>
            <a:r>
              <a:rPr lang="en-US" dirty="0"/>
              <a:t>Lineage: dependencies</a:t>
            </a:r>
          </a:p>
          <a:p>
            <a:r>
              <a:rPr lang="en-US" dirty="0"/>
              <a:t>Compute function: Partition =&gt; Iterator[T]</a:t>
            </a:r>
          </a:p>
        </p:txBody>
      </p:sp>
    </p:spTree>
    <p:extLst>
      <p:ext uri="{BB962C8B-B14F-4D97-AF65-F5344CB8AC3E}">
        <p14:creationId xmlns:p14="http://schemas.microsoft.com/office/powerpoint/2010/main" val="929117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From RDD to Dataset: What is RDD?</a:t>
            </a:r>
          </a:p>
        </p:txBody>
      </p:sp>
      <p:sp>
        <p:nvSpPr>
          <p:cNvPr id="6" name="Text Placeholder 5"/>
          <p:cNvSpPr>
            <a:spLocks noGrp="1"/>
          </p:cNvSpPr>
          <p:nvPr>
            <p:ph type="body" sz="quarter" idx="4294967295"/>
          </p:nvPr>
        </p:nvSpPr>
        <p:spPr>
          <a:xfrm>
            <a:off x="269239" y="1189495"/>
            <a:ext cx="11653523" cy="2051739"/>
          </a:xfrm>
        </p:spPr>
        <p:txBody>
          <a:bodyPr/>
          <a:lstStyle/>
          <a:p>
            <a:r>
              <a:rPr lang="en-US" dirty="0"/>
              <a:t>Partitions: distributed data</a:t>
            </a:r>
          </a:p>
          <a:p>
            <a:r>
              <a:rPr lang="en-US" dirty="0"/>
              <a:t>Lineage: dependencies</a:t>
            </a:r>
          </a:p>
          <a:p>
            <a:r>
              <a:rPr lang="en-US" dirty="0"/>
              <a:t>Compute function: </a:t>
            </a:r>
            <a:r>
              <a:rPr lang="en-US" b="1" dirty="0">
                <a:solidFill>
                  <a:schemeClr val="accent2"/>
                </a:solidFill>
              </a:rPr>
              <a:t>Partition =&gt; Iterator[T]</a:t>
            </a:r>
          </a:p>
        </p:txBody>
      </p:sp>
      <p:sp>
        <p:nvSpPr>
          <p:cNvPr id="3" name="Left Brace 2"/>
          <p:cNvSpPr/>
          <p:nvPr/>
        </p:nvSpPr>
        <p:spPr>
          <a:xfrm rot="16200000">
            <a:off x="6655763" y="851273"/>
            <a:ext cx="225116" cy="4780932"/>
          </a:xfrm>
          <a:prstGeom prst="leftBrace">
            <a:avLst>
              <a:gd name="adj1" fmla="val 44770"/>
              <a:gd name="adj2" fmla="val 5000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endParaRPr lang="en-US" sz="1765" kern="0">
              <a:solidFill>
                <a:sysClr val="windowText" lastClr="000000"/>
              </a:solidFill>
            </a:endParaRPr>
          </a:p>
        </p:txBody>
      </p:sp>
      <p:sp>
        <p:nvSpPr>
          <p:cNvPr id="4" name="TextBox 3"/>
          <p:cNvSpPr txBox="1"/>
          <p:nvPr/>
        </p:nvSpPr>
        <p:spPr>
          <a:xfrm>
            <a:off x="4195444" y="3361163"/>
            <a:ext cx="5145754" cy="669832"/>
          </a:xfrm>
          <a:prstGeom prst="rect">
            <a:avLst/>
          </a:prstGeom>
          <a:noFill/>
        </p:spPr>
        <p:txBody>
          <a:bodyPr wrap="none" lIns="179285" tIns="143428" rIns="179285" bIns="143428" rtlCol="0">
            <a:spAutoFit/>
          </a:bodyPr>
          <a:lstStyle/>
          <a:p>
            <a:pPr defTabSz="896386">
              <a:lnSpc>
                <a:spcPct val="90000"/>
              </a:lnSpc>
              <a:spcAft>
                <a:spcPts val="588"/>
              </a:spcAft>
            </a:pPr>
            <a:r>
              <a:rPr lang="en-US" sz="2745" kern="0" dirty="0">
                <a:solidFill>
                  <a:schemeClr val="accent1"/>
                </a:solidFill>
              </a:rPr>
              <a:t>Opaque computation and data</a:t>
            </a:r>
          </a:p>
        </p:txBody>
      </p:sp>
    </p:spTree>
    <p:extLst>
      <p:ext uri="{BB962C8B-B14F-4D97-AF65-F5344CB8AC3E}">
        <p14:creationId xmlns:p14="http://schemas.microsoft.com/office/powerpoint/2010/main" val="111394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om RDD to Dataset: What is Dataset?</a:t>
            </a:r>
          </a:p>
        </p:txBody>
      </p:sp>
      <p:sp>
        <p:nvSpPr>
          <p:cNvPr id="3" name="Text Placeholder 2"/>
          <p:cNvSpPr>
            <a:spLocks noGrp="1"/>
          </p:cNvSpPr>
          <p:nvPr>
            <p:ph type="body" sz="quarter" idx="4294967295"/>
          </p:nvPr>
        </p:nvSpPr>
        <p:spPr>
          <a:xfrm>
            <a:off x="269240" y="1189495"/>
            <a:ext cx="5378548" cy="3469852"/>
          </a:xfrm>
          <a:prstGeom prst="rect">
            <a:avLst/>
          </a:prstGeom>
        </p:spPr>
        <p:txBody>
          <a:bodyPr/>
          <a:lstStyle/>
          <a:p>
            <a:r>
              <a:rPr lang="en-US" dirty="0"/>
              <a:t>Structured computation and data</a:t>
            </a:r>
          </a:p>
          <a:p>
            <a:pPr lvl="1"/>
            <a:r>
              <a:rPr lang="en-US" dirty="0"/>
              <a:t>Data types have known structure</a:t>
            </a:r>
          </a:p>
          <a:p>
            <a:pPr lvl="1"/>
            <a:r>
              <a:rPr lang="en-US" dirty="0"/>
              <a:t>Common computations are transparent to optimizer</a:t>
            </a:r>
          </a:p>
          <a:p>
            <a:r>
              <a:rPr lang="en-US" dirty="0"/>
              <a:t>Type-safe</a:t>
            </a:r>
          </a:p>
          <a:p>
            <a:pPr lvl="1"/>
            <a:r>
              <a:rPr lang="en-US" dirty="0"/>
              <a:t>Operations on data can be expressed using domain objects</a:t>
            </a:r>
          </a:p>
        </p:txBody>
      </p:sp>
      <p:pic>
        <p:nvPicPr>
          <p:cNvPr id="4" name="Picture 3"/>
          <p:cNvPicPr>
            <a:picLocks noChangeAspect="1"/>
          </p:cNvPicPr>
          <p:nvPr/>
        </p:nvPicPr>
        <p:blipFill rotWithShape="1">
          <a:blip r:embed="rId2"/>
          <a:srcRect l="40729" t="15217" r="2318"/>
          <a:stretch/>
        </p:blipFill>
        <p:spPr>
          <a:xfrm>
            <a:off x="5797192" y="1337342"/>
            <a:ext cx="5898726" cy="4681257"/>
          </a:xfrm>
          <a:prstGeom prst="rect">
            <a:avLst/>
          </a:prstGeom>
        </p:spPr>
      </p:pic>
    </p:spTree>
    <p:extLst>
      <p:ext uri="{BB962C8B-B14F-4D97-AF65-F5344CB8AC3E}">
        <p14:creationId xmlns:p14="http://schemas.microsoft.com/office/powerpoint/2010/main" val="109953324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2" y="1727554"/>
            <a:ext cx="8385307" cy="1518689"/>
          </a:xfrm>
          <a:prstGeom prst="rect">
            <a:avLst/>
          </a:prstGeom>
        </p:spPr>
        <p:txBody>
          <a:bodyPr vert="horz" wrap="square" lIns="448212"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00000"/>
              </a:lnSpc>
              <a:spcBef>
                <a:spcPts val="980"/>
              </a:spcBef>
            </a:pPr>
            <a:r>
              <a:rPr lang="en-US" sz="2353" dirty="0">
                <a:solidFill>
                  <a:srgbClr val="FFFFFF"/>
                </a:solidFill>
                <a:latin typeface="Segoe UI Light"/>
              </a:rPr>
              <a:t>Spark SQL overview</a:t>
            </a:r>
          </a:p>
          <a:p>
            <a:pPr defTabSz="914367">
              <a:lnSpc>
                <a:spcPct val="100000"/>
              </a:lnSpc>
              <a:spcBef>
                <a:spcPts val="980"/>
              </a:spcBef>
            </a:pPr>
            <a:r>
              <a:rPr lang="en-US" sz="2353" dirty="0" err="1">
                <a:solidFill>
                  <a:srgbClr val="FFFFFF"/>
                </a:solidFill>
                <a:latin typeface="Segoe UI Light"/>
              </a:rPr>
              <a:t>DataFrames</a:t>
            </a:r>
            <a:r>
              <a:rPr lang="en-US" sz="2353" dirty="0">
                <a:solidFill>
                  <a:srgbClr val="FFFFFF"/>
                </a:solidFill>
                <a:latin typeface="Segoe UI Light"/>
              </a:rPr>
              <a:t> </a:t>
            </a:r>
          </a:p>
          <a:p>
            <a:pPr defTabSz="914367">
              <a:lnSpc>
                <a:spcPct val="100000"/>
              </a:lnSpc>
              <a:spcBef>
                <a:spcPts val="980"/>
              </a:spcBef>
            </a:pPr>
            <a:r>
              <a:rPr lang="en-US" sz="2353" dirty="0">
                <a:solidFill>
                  <a:srgbClr val="FFFFFF"/>
                </a:solidFill>
                <a:latin typeface="Segoe UI Light"/>
              </a:rPr>
              <a:t>Datasets and Type Safety</a:t>
            </a:r>
          </a:p>
        </p:txBody>
      </p:sp>
      <p:sp>
        <p:nvSpPr>
          <p:cNvPr id="7" name="Title 1"/>
          <p:cNvSpPr txBox="1">
            <a:spLocks/>
          </p:cNvSpPr>
          <p:nvPr/>
        </p:nvSpPr>
        <p:spPr>
          <a:xfrm>
            <a:off x="1" y="291554"/>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defTabSz="914367"/>
            <a:r>
              <a:rPr lang="en-US" sz="4705" spc="-100" dirty="0">
                <a:gradFill>
                  <a:gsLst>
                    <a:gs pos="7080">
                      <a:srgbClr val="FFFFFF"/>
                    </a:gs>
                    <a:gs pos="26000">
                      <a:srgbClr val="FFFFFF"/>
                    </a:gs>
                  </a:gsLst>
                  <a:lin ang="5400000" scaled="0"/>
                </a:gradFill>
              </a:rPr>
              <a:t>Learning objectives</a:t>
            </a:r>
            <a:endParaRPr lang="en-US" sz="4705" spc="-1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712100" y="487"/>
            <a:ext cx="4479901" cy="6857027"/>
          </a:xfrm>
          <a:prstGeom prst="rect">
            <a:avLst/>
          </a:prstGeom>
        </p:spPr>
      </p:pic>
    </p:spTree>
    <p:extLst>
      <p:ext uri="{BB962C8B-B14F-4D97-AF65-F5344CB8AC3E}">
        <p14:creationId xmlns:p14="http://schemas.microsoft.com/office/powerpoint/2010/main" val="2823438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uctured APIs in Spark</a:t>
            </a:r>
          </a:p>
        </p:txBody>
      </p:sp>
      <p:graphicFrame>
        <p:nvGraphicFramePr>
          <p:cNvPr id="5" name="Table 4"/>
          <p:cNvGraphicFramePr>
            <a:graphicFrameLocks noGrp="1"/>
          </p:cNvGraphicFramePr>
          <p:nvPr>
            <p:extLst/>
          </p:nvPr>
        </p:nvGraphicFramePr>
        <p:xfrm>
          <a:off x="2137951" y="1860257"/>
          <a:ext cx="7918420" cy="3436296"/>
        </p:xfrm>
        <a:graphic>
          <a:graphicData uri="http://schemas.openxmlformats.org/drawingml/2006/table">
            <a:tbl>
              <a:tblPr bandRow="1">
                <a:tableStyleId>{21E4AEA4-8DFA-4A89-87EB-49C32662AFE0}</a:tableStyleId>
              </a:tblPr>
              <a:tblGrid>
                <a:gridCol w="1979605">
                  <a:extLst>
                    <a:ext uri="{9D8B030D-6E8A-4147-A177-3AD203B41FA5}">
                      <a16:colId xmlns:a16="http://schemas.microsoft.com/office/drawing/2014/main" xmlns="" val="1735649932"/>
                    </a:ext>
                  </a:extLst>
                </a:gridCol>
                <a:gridCol w="1979605">
                  <a:extLst>
                    <a:ext uri="{9D8B030D-6E8A-4147-A177-3AD203B41FA5}">
                      <a16:colId xmlns:a16="http://schemas.microsoft.com/office/drawing/2014/main" xmlns="" val="458338779"/>
                    </a:ext>
                  </a:extLst>
                </a:gridCol>
                <a:gridCol w="1979605">
                  <a:extLst>
                    <a:ext uri="{9D8B030D-6E8A-4147-A177-3AD203B41FA5}">
                      <a16:colId xmlns:a16="http://schemas.microsoft.com/office/drawing/2014/main" xmlns="" val="827642073"/>
                    </a:ext>
                  </a:extLst>
                </a:gridCol>
                <a:gridCol w="1979605">
                  <a:extLst>
                    <a:ext uri="{9D8B030D-6E8A-4147-A177-3AD203B41FA5}">
                      <a16:colId xmlns:a16="http://schemas.microsoft.com/office/drawing/2014/main" xmlns="" val="1520183415"/>
                    </a:ext>
                  </a:extLst>
                </a:gridCol>
              </a:tblGrid>
              <a:tr h="1145432">
                <a:tc>
                  <a:txBody>
                    <a:bodyPr/>
                    <a:lstStyle/>
                    <a:p>
                      <a:pPr algn="ctr"/>
                      <a:endParaRPr lang="en-US" sz="2400" dirty="0"/>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t>SQL</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err="1"/>
                        <a:t>DataFrames</a:t>
                      </a:r>
                      <a:endParaRPr lang="en-US" sz="2400" dirty="0"/>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t>Dataset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xmlns="" val="1444717629"/>
                  </a:ext>
                </a:extLst>
              </a:tr>
              <a:tr h="1145432">
                <a:tc>
                  <a:txBody>
                    <a:bodyPr/>
                    <a:lstStyle/>
                    <a:p>
                      <a:pPr algn="ctr"/>
                      <a:r>
                        <a:rPr lang="en-US" sz="2400" dirty="0"/>
                        <a:t>Syntax </a:t>
                      </a:r>
                      <a:br>
                        <a:rPr lang="en-US" sz="2400" dirty="0"/>
                      </a:br>
                      <a:r>
                        <a:rPr lang="en-US" sz="2400" dirty="0"/>
                        <a:t>Error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rgbClr val="00B050"/>
                          </a:solidFill>
                        </a:rPr>
                        <a:t>Run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chemeClr val="accent1"/>
                          </a:solidFill>
                        </a:rPr>
                        <a:t>Compile </a:t>
                      </a:r>
                      <a:br>
                        <a:rPr lang="en-US" sz="2400" dirty="0">
                          <a:solidFill>
                            <a:schemeClr val="accent1"/>
                          </a:solidFill>
                        </a:rPr>
                      </a:br>
                      <a:r>
                        <a:rPr lang="en-US" sz="2400" dirty="0">
                          <a:solidFill>
                            <a:schemeClr val="accent1"/>
                          </a:solidFill>
                        </a:rPr>
                        <a:t>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chemeClr val="accent1"/>
                          </a:solidFill>
                        </a:rPr>
                        <a:t>Compile</a:t>
                      </a:r>
                      <a:br>
                        <a:rPr lang="en-US" sz="2400" dirty="0">
                          <a:solidFill>
                            <a:schemeClr val="accent1"/>
                          </a:solidFill>
                        </a:rPr>
                      </a:br>
                      <a:r>
                        <a:rPr lang="en-US" sz="2400" dirty="0">
                          <a:solidFill>
                            <a:schemeClr val="accent1"/>
                          </a:solidFill>
                        </a:rPr>
                        <a:t>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xmlns="" val="3430023122"/>
                  </a:ext>
                </a:extLst>
              </a:tr>
              <a:tr h="1145432">
                <a:tc>
                  <a:txBody>
                    <a:bodyPr/>
                    <a:lstStyle/>
                    <a:p>
                      <a:pPr algn="ctr"/>
                      <a:r>
                        <a:rPr lang="en-US" sz="2400" dirty="0"/>
                        <a:t>Analysis Error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rgbClr val="00B050"/>
                          </a:solidFill>
                        </a:rPr>
                        <a:t>Run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rgbClr val="00B050"/>
                          </a:solidFill>
                        </a:rPr>
                        <a:t>Run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chemeClr val="accent1"/>
                          </a:solidFill>
                        </a:rPr>
                        <a:t>Compile 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xmlns="" val="1805225301"/>
                  </a:ext>
                </a:extLst>
              </a:tr>
            </a:tbl>
          </a:graphicData>
        </a:graphic>
      </p:graphicFrame>
    </p:spTree>
    <p:extLst>
      <p:ext uri="{BB962C8B-B14F-4D97-AF65-F5344CB8AC3E}">
        <p14:creationId xmlns:p14="http://schemas.microsoft.com/office/powerpoint/2010/main" val="123809415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DataFrame</a:t>
            </a:r>
            <a:r>
              <a:rPr lang="en-US" dirty="0"/>
              <a:t> = Dataset[Row]</a:t>
            </a:r>
          </a:p>
        </p:txBody>
      </p:sp>
      <p:sp>
        <p:nvSpPr>
          <p:cNvPr id="3" name="Text Placeholder 2"/>
          <p:cNvSpPr>
            <a:spLocks noGrp="1"/>
          </p:cNvSpPr>
          <p:nvPr>
            <p:ph type="body" sz="quarter" idx="4294967295"/>
          </p:nvPr>
        </p:nvSpPr>
        <p:spPr>
          <a:xfrm>
            <a:off x="269239" y="1189495"/>
            <a:ext cx="11653523" cy="3801752"/>
          </a:xfrm>
        </p:spPr>
        <p:txBody>
          <a:bodyPr/>
          <a:lstStyle/>
          <a:p>
            <a:r>
              <a:rPr lang="en-US" dirty="0"/>
              <a:t>Spark 2.0 unifies these APIs</a:t>
            </a:r>
          </a:p>
          <a:p>
            <a:pPr lvl="1"/>
            <a:endParaRPr lang="en-US" dirty="0"/>
          </a:p>
          <a:p>
            <a:r>
              <a:rPr lang="en-US" dirty="0"/>
              <a:t>Strongly-typed methods will downcast to </a:t>
            </a:r>
            <a:br>
              <a:rPr lang="en-US" dirty="0"/>
            </a:br>
            <a:r>
              <a:rPr lang="en-US" dirty="0"/>
              <a:t>generic </a:t>
            </a:r>
            <a:r>
              <a:rPr lang="en-US" b="1" dirty="0">
                <a:latin typeface="Consolas" panose="020B0609020204030204" pitchFamily="49" charset="0"/>
              </a:rPr>
              <a:t>Row</a:t>
            </a:r>
            <a:r>
              <a:rPr lang="en-US" dirty="0"/>
              <a:t> objects</a:t>
            </a:r>
          </a:p>
          <a:p>
            <a:pPr lvl="1"/>
            <a:endParaRPr lang="en-US" dirty="0"/>
          </a:p>
          <a:p>
            <a:r>
              <a:rPr lang="en-US" dirty="0"/>
              <a:t>Types can be enforced on generic rows by</a:t>
            </a:r>
            <a:br>
              <a:rPr lang="en-US" dirty="0"/>
            </a:br>
            <a:r>
              <a:rPr lang="en-US" dirty="0"/>
              <a:t>using </a:t>
            </a:r>
            <a:r>
              <a:rPr lang="en-US" b="1" dirty="0">
                <a:latin typeface="Consolas" panose="020B0609020204030204" pitchFamily="49" charset="0"/>
              </a:rPr>
              <a:t>df.as[</a:t>
            </a:r>
            <a:r>
              <a:rPr lang="en-US" b="1" dirty="0" err="1">
                <a:latin typeface="Consolas" panose="020B0609020204030204" pitchFamily="49" charset="0"/>
              </a:rPr>
              <a:t>MyClass</a:t>
            </a:r>
            <a:r>
              <a:rPr lang="en-US" b="1" dirty="0">
                <a:latin typeface="Consolas" panose="020B0609020204030204" pitchFamily="49" charset="0"/>
              </a:rPr>
              <a:t>]</a:t>
            </a:r>
          </a:p>
        </p:txBody>
      </p:sp>
    </p:spTree>
    <p:extLst>
      <p:ext uri="{BB962C8B-B14F-4D97-AF65-F5344CB8AC3E}">
        <p14:creationId xmlns:p14="http://schemas.microsoft.com/office/powerpoint/2010/main" val="167939049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gical query plan</a:t>
            </a:r>
          </a:p>
        </p:txBody>
      </p:sp>
      <p:sp>
        <p:nvSpPr>
          <p:cNvPr id="4" name="Text Placeholder 3"/>
          <p:cNvSpPr>
            <a:spLocks noGrp="1"/>
          </p:cNvSpPr>
          <p:nvPr>
            <p:ph type="body" sz="quarter" idx="10"/>
          </p:nvPr>
        </p:nvSpPr>
        <p:spPr>
          <a:xfrm>
            <a:off x="269240" y="3578404"/>
            <a:ext cx="11653522" cy="2465168"/>
          </a:xfrm>
        </p:spPr>
        <p:txBody>
          <a:bodyPr/>
          <a:lstStyle/>
          <a:p>
            <a:r>
              <a:rPr lang="en-US" dirty="0"/>
              <a:t>== Optimized Logical Plan ==</a:t>
            </a:r>
          </a:p>
          <a:p>
            <a:r>
              <a:rPr lang="en-US" dirty="0"/>
              <a:t>Project [name#75,age#74L]</a:t>
            </a:r>
          </a:p>
          <a:p>
            <a:r>
              <a:rPr lang="en-US" dirty="0"/>
              <a:t>+- Filter (age#74L &gt; 30)</a:t>
            </a:r>
          </a:p>
          <a:p>
            <a:r>
              <a:rPr lang="en-US" dirty="0"/>
              <a:t>   +- Relation[age#74L,name#75] </a:t>
            </a:r>
            <a:r>
              <a:rPr lang="en-US" dirty="0" err="1"/>
              <a:t>JSONRelation</a:t>
            </a:r>
            <a:endParaRPr lang="en-US" dirty="0"/>
          </a:p>
        </p:txBody>
      </p:sp>
      <p:sp>
        <p:nvSpPr>
          <p:cNvPr id="11" name="Rectangle 10"/>
          <p:cNvSpPr/>
          <p:nvPr/>
        </p:nvSpPr>
        <p:spPr bwMode="auto">
          <a:xfrm>
            <a:off x="2585003" y="4698935"/>
            <a:ext cx="3361593" cy="522914"/>
          </a:xfrm>
          <a:prstGeom prst="rect">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pic>
        <p:nvPicPr>
          <p:cNvPr id="12" name="Picture 11"/>
          <p:cNvPicPr>
            <a:picLocks noChangeAspect="1"/>
          </p:cNvPicPr>
          <p:nvPr/>
        </p:nvPicPr>
        <p:blipFill>
          <a:blip r:embed="rId2"/>
          <a:stretch>
            <a:fillRect/>
          </a:stretch>
        </p:blipFill>
        <p:spPr>
          <a:xfrm>
            <a:off x="418643" y="1486747"/>
            <a:ext cx="9113652" cy="1506116"/>
          </a:xfrm>
          <a:prstGeom prst="rect">
            <a:avLst/>
          </a:prstGeom>
        </p:spPr>
      </p:pic>
    </p:spTree>
    <p:extLst>
      <p:ext uri="{BB962C8B-B14F-4D97-AF65-F5344CB8AC3E}">
        <p14:creationId xmlns:p14="http://schemas.microsoft.com/office/powerpoint/2010/main" val="3027030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uctured computation</a:t>
            </a:r>
          </a:p>
        </p:txBody>
      </p:sp>
      <p:sp>
        <p:nvSpPr>
          <p:cNvPr id="3" name="Text Placeholder 2"/>
          <p:cNvSpPr>
            <a:spLocks noGrp="1"/>
          </p:cNvSpPr>
          <p:nvPr>
            <p:ph type="body" sz="quarter" idx="4294967295"/>
          </p:nvPr>
        </p:nvSpPr>
        <p:spPr/>
        <p:txBody>
          <a:bodyPr/>
          <a:lstStyle/>
          <a:p>
            <a:endParaRPr lang="en-US" dirty="0"/>
          </a:p>
          <a:p>
            <a:endParaRPr lang="en-US" dirty="0"/>
          </a:p>
          <a:p>
            <a:endParaRPr lang="en-US" dirty="0"/>
          </a:p>
          <a:p>
            <a:pPr marL="0" indent="0">
              <a:buNone/>
            </a:pPr>
            <a:endParaRPr lang="en-US" dirty="0"/>
          </a:p>
          <a:p>
            <a:pPr marL="0" indent="0">
              <a:buNone/>
            </a:pPr>
            <a:endParaRPr lang="en-US" dirty="0"/>
          </a:p>
        </p:txBody>
      </p:sp>
      <p:graphicFrame>
        <p:nvGraphicFramePr>
          <p:cNvPr id="5" name="Table 4"/>
          <p:cNvGraphicFramePr>
            <a:graphicFrameLocks noGrp="1"/>
          </p:cNvGraphicFramePr>
          <p:nvPr>
            <p:extLst/>
          </p:nvPr>
        </p:nvGraphicFramePr>
        <p:xfrm>
          <a:off x="1240366" y="1785554"/>
          <a:ext cx="9860673" cy="3908584"/>
        </p:xfrm>
        <a:graphic>
          <a:graphicData uri="http://schemas.openxmlformats.org/drawingml/2006/table">
            <a:tbl>
              <a:tblPr bandRow="1">
                <a:tableStyleId>{21E4AEA4-8DFA-4A89-87EB-49C32662AFE0}</a:tableStyleId>
              </a:tblPr>
              <a:tblGrid>
                <a:gridCol w="2390466">
                  <a:extLst>
                    <a:ext uri="{9D8B030D-6E8A-4147-A177-3AD203B41FA5}">
                      <a16:colId xmlns:a16="http://schemas.microsoft.com/office/drawing/2014/main" xmlns="" val="1735649932"/>
                    </a:ext>
                  </a:extLst>
                </a:gridCol>
                <a:gridCol w="3660401">
                  <a:extLst>
                    <a:ext uri="{9D8B030D-6E8A-4147-A177-3AD203B41FA5}">
                      <a16:colId xmlns:a16="http://schemas.microsoft.com/office/drawing/2014/main" xmlns="" val="458338779"/>
                    </a:ext>
                  </a:extLst>
                </a:gridCol>
                <a:gridCol w="3809806">
                  <a:extLst>
                    <a:ext uri="{9D8B030D-6E8A-4147-A177-3AD203B41FA5}">
                      <a16:colId xmlns:a16="http://schemas.microsoft.com/office/drawing/2014/main" xmlns="" val="827642073"/>
                    </a:ext>
                  </a:extLst>
                </a:gridCol>
              </a:tblGrid>
              <a:tr h="1299871">
                <a:tc>
                  <a:txBody>
                    <a:bodyPr/>
                    <a:lstStyle/>
                    <a:p>
                      <a:pPr algn="ctr"/>
                      <a:endParaRPr lang="en-US" sz="2400" dirty="0"/>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400" dirty="0"/>
                        <a:t>Function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400" dirty="0"/>
                        <a:t>Expression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xmlns="" val="1444717629"/>
                  </a:ext>
                </a:extLst>
              </a:tr>
              <a:tr h="1299871">
                <a:tc>
                  <a:txBody>
                    <a:bodyPr/>
                    <a:lstStyle/>
                    <a:p>
                      <a:pPr algn="ctr"/>
                      <a:r>
                        <a:rPr lang="en-US" sz="2400" dirty="0"/>
                        <a:t>Scala cod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a:solidFill>
                            <a:schemeClr val="dk1"/>
                          </a:solidFill>
                          <a:latin typeface="Consolas" panose="020B0609020204030204" pitchFamily="49" charset="0"/>
                          <a:ea typeface="+mn-ea"/>
                          <a:cs typeface="+mn-cs"/>
                        </a:rPr>
                        <a:t>(x: </a:t>
                      </a:r>
                      <a:r>
                        <a:rPr lang="en-US" sz="2000" kern="1200" dirty="0" err="1">
                          <a:solidFill>
                            <a:schemeClr val="dk1"/>
                          </a:solidFill>
                          <a:latin typeface="Consolas" panose="020B0609020204030204" pitchFamily="49" charset="0"/>
                          <a:ea typeface="+mn-ea"/>
                          <a:cs typeface="+mn-cs"/>
                        </a:rPr>
                        <a:t>Int</a:t>
                      </a:r>
                      <a:r>
                        <a:rPr lang="en-US" sz="2000" kern="1200" dirty="0">
                          <a:solidFill>
                            <a:schemeClr val="dk1"/>
                          </a:solidFill>
                          <a:latin typeface="Consolas" panose="020B0609020204030204" pitchFamily="49" charset="0"/>
                          <a:ea typeface="+mn-ea"/>
                          <a:cs typeface="+mn-cs"/>
                        </a:rPr>
                        <a:t>) =&gt; x &gt; 30</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err="1">
                          <a:solidFill>
                            <a:schemeClr val="dk1"/>
                          </a:solidFill>
                          <a:latin typeface="Consolas" panose="020B0609020204030204" pitchFamily="49" charset="0"/>
                          <a:ea typeface="+mn-ea"/>
                          <a:cs typeface="+mn-cs"/>
                        </a:rPr>
                        <a:t>df</a:t>
                      </a:r>
                      <a:r>
                        <a:rPr lang="en-US" sz="2000" kern="1200" dirty="0">
                          <a:solidFill>
                            <a:schemeClr val="dk1"/>
                          </a:solidFill>
                          <a:latin typeface="Consolas" panose="020B0609020204030204" pitchFamily="49" charset="0"/>
                          <a:ea typeface="+mn-ea"/>
                          <a:cs typeface="+mn-cs"/>
                        </a:rPr>
                        <a:t>(“x”) &gt;</a:t>
                      </a:r>
                      <a:r>
                        <a:rPr lang="en-US" sz="2000" kern="1200" baseline="0" dirty="0">
                          <a:solidFill>
                            <a:schemeClr val="dk1"/>
                          </a:solidFill>
                          <a:latin typeface="Consolas" panose="020B0609020204030204" pitchFamily="49" charset="0"/>
                          <a:ea typeface="+mn-ea"/>
                          <a:cs typeface="+mn-cs"/>
                        </a:rPr>
                        <a:t> 30</a:t>
                      </a:r>
                      <a:endParaRPr lang="en-US" sz="2000" kern="1200" dirty="0">
                        <a:solidFill>
                          <a:schemeClr val="dk1"/>
                        </a:solidFill>
                        <a:latin typeface="Consolas" panose="020B0609020204030204" pitchFamily="49" charset="0"/>
                        <a:ea typeface="+mn-ea"/>
                        <a:cs typeface="+mn-cs"/>
                      </a:endParaRP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xmlns="" val="3430023122"/>
                  </a:ext>
                </a:extLst>
              </a:tr>
              <a:tr h="1299871">
                <a:tc>
                  <a:txBody>
                    <a:bodyPr/>
                    <a:lstStyle/>
                    <a:p>
                      <a:pPr algn="ctr"/>
                      <a:r>
                        <a:rPr lang="en-US" sz="2400" dirty="0"/>
                        <a:t>Compiles into</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a:solidFill>
                            <a:schemeClr val="dk1"/>
                          </a:solidFill>
                          <a:latin typeface="Consolas" panose="020B0609020204030204" pitchFamily="49" charset="0"/>
                          <a:ea typeface="+mn-ea"/>
                          <a:cs typeface="+mn-cs"/>
                        </a:rPr>
                        <a:t>class $function1 {</a:t>
                      </a:r>
                    </a:p>
                    <a:p>
                      <a:pPr algn="l"/>
                      <a:r>
                        <a:rPr lang="en-US" sz="2000" kern="1200" dirty="0">
                          <a:solidFill>
                            <a:schemeClr val="dk1"/>
                          </a:solidFill>
                          <a:latin typeface="Consolas" panose="020B0609020204030204" pitchFamily="49" charset="0"/>
                          <a:ea typeface="+mn-ea"/>
                          <a:cs typeface="+mn-cs"/>
                        </a:rPr>
                        <a:t>  </a:t>
                      </a:r>
                      <a:r>
                        <a:rPr lang="en-US" sz="2000" kern="1200" dirty="0" err="1">
                          <a:solidFill>
                            <a:schemeClr val="dk1"/>
                          </a:solidFill>
                          <a:latin typeface="Consolas" panose="020B0609020204030204" pitchFamily="49" charset="0"/>
                          <a:ea typeface="+mn-ea"/>
                          <a:cs typeface="+mn-cs"/>
                        </a:rPr>
                        <a:t>def</a:t>
                      </a:r>
                      <a:r>
                        <a:rPr lang="en-US" sz="2000" kern="1200" dirty="0">
                          <a:solidFill>
                            <a:schemeClr val="dk1"/>
                          </a:solidFill>
                          <a:latin typeface="Consolas" panose="020B0609020204030204" pitchFamily="49" charset="0"/>
                          <a:ea typeface="+mn-ea"/>
                          <a:cs typeface="+mn-cs"/>
                        </a:rPr>
                        <a:t> apply(</a:t>
                      </a:r>
                      <a:r>
                        <a:rPr lang="en-US" sz="2000" kern="1200" dirty="0" err="1">
                          <a:solidFill>
                            <a:schemeClr val="dk1"/>
                          </a:solidFill>
                          <a:latin typeface="Consolas" panose="020B0609020204030204" pitchFamily="49" charset="0"/>
                          <a:ea typeface="+mn-ea"/>
                          <a:cs typeface="+mn-cs"/>
                        </a:rPr>
                        <a:t>Int</a:t>
                      </a:r>
                      <a:r>
                        <a:rPr lang="en-US" sz="2000" kern="1200" dirty="0">
                          <a:solidFill>
                            <a:schemeClr val="dk1"/>
                          </a:solidFill>
                          <a:latin typeface="Consolas" panose="020B0609020204030204" pitchFamily="49" charset="0"/>
                          <a:ea typeface="+mn-ea"/>
                          <a:cs typeface="+mn-cs"/>
                        </a:rPr>
                        <a:t>): Boolean</a:t>
                      </a:r>
                    </a:p>
                    <a:p>
                      <a:pPr algn="l"/>
                      <a:r>
                        <a:rPr lang="en-US" sz="2000" kern="1200" dirty="0">
                          <a:solidFill>
                            <a:schemeClr val="dk1"/>
                          </a:solidFill>
                          <a:latin typeface="Consolas" panose="020B0609020204030204" pitchFamily="49" charset="0"/>
                          <a:ea typeface="+mn-ea"/>
                          <a:cs typeface="+mn-cs"/>
                        </a:rPr>
                        <a:t>}</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err="1">
                          <a:solidFill>
                            <a:schemeClr val="dk1"/>
                          </a:solidFill>
                          <a:latin typeface="Consolas" panose="020B0609020204030204" pitchFamily="49" charset="0"/>
                          <a:ea typeface="+mn-ea"/>
                          <a:cs typeface="+mn-cs"/>
                        </a:rPr>
                        <a:t>GreaterThan</a:t>
                      </a:r>
                      <a:r>
                        <a:rPr lang="en-US" sz="2000" kern="1200" dirty="0">
                          <a:solidFill>
                            <a:schemeClr val="dk1"/>
                          </a:solidFill>
                          <a:latin typeface="Consolas" panose="020B0609020204030204" pitchFamily="49" charset="0"/>
                          <a:ea typeface="+mn-ea"/>
                          <a:cs typeface="+mn-cs"/>
                        </a:rPr>
                        <a:t>(</a:t>
                      </a:r>
                      <a:r>
                        <a:rPr lang="en-US" sz="2000" kern="1200" dirty="0" err="1">
                          <a:solidFill>
                            <a:schemeClr val="dk1"/>
                          </a:solidFill>
                          <a:latin typeface="Consolas" panose="020B0609020204030204" pitchFamily="49" charset="0"/>
                          <a:ea typeface="+mn-ea"/>
                          <a:cs typeface="+mn-cs"/>
                        </a:rPr>
                        <a:t>x,Literal</a:t>
                      </a:r>
                      <a:r>
                        <a:rPr lang="en-US" sz="2000" kern="1200" dirty="0">
                          <a:solidFill>
                            <a:schemeClr val="dk1"/>
                          </a:solidFill>
                          <a:latin typeface="Consolas" panose="020B0609020204030204" pitchFamily="49" charset="0"/>
                          <a:ea typeface="+mn-ea"/>
                          <a:cs typeface="+mn-cs"/>
                        </a:rPr>
                        <a:t>(30))</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xmlns="" val="1805225301"/>
                  </a:ext>
                </a:extLst>
              </a:tr>
            </a:tbl>
          </a:graphicData>
        </a:graphic>
      </p:graphicFrame>
    </p:spTree>
    <p:extLst>
      <p:ext uri="{BB962C8B-B14F-4D97-AF65-F5344CB8AC3E}">
        <p14:creationId xmlns:p14="http://schemas.microsoft.com/office/powerpoint/2010/main" val="14119992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alyst Expressions</a:t>
            </a:r>
          </a:p>
        </p:txBody>
      </p:sp>
      <p:sp>
        <p:nvSpPr>
          <p:cNvPr id="3" name="Text Placeholder 2"/>
          <p:cNvSpPr>
            <a:spLocks noGrp="1"/>
          </p:cNvSpPr>
          <p:nvPr>
            <p:ph type="body" sz="quarter" idx="4294967295"/>
          </p:nvPr>
        </p:nvSpPr>
        <p:spPr>
          <a:xfrm>
            <a:off x="269239" y="1189495"/>
            <a:ext cx="11653523" cy="3047436"/>
          </a:xfrm>
        </p:spPr>
        <p:txBody>
          <a:bodyPr/>
          <a:lstStyle/>
          <a:p>
            <a:r>
              <a:rPr lang="en-US" dirty="0"/>
              <a:t>Support 100+ native functions</a:t>
            </a:r>
          </a:p>
          <a:p>
            <a:pPr lvl="1"/>
            <a:r>
              <a:rPr lang="en-US" dirty="0"/>
              <a:t>Optimized </a:t>
            </a:r>
            <a:r>
              <a:rPr lang="en-US" dirty="0" err="1"/>
              <a:t>codegen</a:t>
            </a:r>
            <a:r>
              <a:rPr lang="en-US" dirty="0"/>
              <a:t> implementation</a:t>
            </a:r>
          </a:p>
          <a:p>
            <a:pPr lvl="1"/>
            <a:r>
              <a:rPr lang="en-US" dirty="0"/>
              <a:t>Examples:</a:t>
            </a:r>
          </a:p>
          <a:p>
            <a:pPr marL="336145" lvl="1" indent="-336145">
              <a:buFont typeface="Arial" panose="020B0604020202020204" pitchFamily="34" charset="0"/>
              <a:buChar char="•"/>
            </a:pPr>
            <a:r>
              <a:rPr lang="en-US" dirty="0"/>
              <a:t>String manipulation – </a:t>
            </a:r>
            <a:r>
              <a:rPr lang="en-US" dirty="0" err="1"/>
              <a:t>concat</a:t>
            </a:r>
            <a:r>
              <a:rPr lang="en-US" dirty="0"/>
              <a:t>, </a:t>
            </a:r>
            <a:r>
              <a:rPr lang="en-US" dirty="0" err="1"/>
              <a:t>format_string</a:t>
            </a:r>
            <a:r>
              <a:rPr lang="en-US" dirty="0"/>
              <a:t>, lower</a:t>
            </a:r>
          </a:p>
          <a:p>
            <a:pPr marL="336145" lvl="1" indent="-336145">
              <a:buFont typeface="Arial" panose="020B0604020202020204" pitchFamily="34" charset="0"/>
              <a:buChar char="•"/>
            </a:pPr>
            <a:r>
              <a:rPr lang="en-US" dirty="0"/>
              <a:t>Data/time – </a:t>
            </a:r>
            <a:r>
              <a:rPr lang="en-US" dirty="0" err="1"/>
              <a:t>current_timestamp</a:t>
            </a:r>
            <a:r>
              <a:rPr lang="en-US" dirty="0"/>
              <a:t>, </a:t>
            </a:r>
            <a:r>
              <a:rPr lang="en-US" dirty="0" err="1"/>
              <a:t>date_format</a:t>
            </a:r>
            <a:r>
              <a:rPr lang="en-US" dirty="0"/>
              <a:t>, </a:t>
            </a:r>
            <a:r>
              <a:rPr lang="en-US" dirty="0" err="1"/>
              <a:t>date_add</a:t>
            </a:r>
            <a:endParaRPr lang="en-US" dirty="0"/>
          </a:p>
          <a:p>
            <a:pPr marL="336145" lvl="1" indent="-336145">
              <a:buFont typeface="Arial" panose="020B0604020202020204" pitchFamily="34" charset="0"/>
              <a:buChar char="•"/>
            </a:pPr>
            <a:r>
              <a:rPr lang="en-US" dirty="0"/>
              <a:t>Math – </a:t>
            </a:r>
            <a:r>
              <a:rPr lang="en-US" dirty="0" err="1"/>
              <a:t>sqrt</a:t>
            </a:r>
            <a:r>
              <a:rPr lang="en-US" dirty="0"/>
              <a:t>, </a:t>
            </a:r>
            <a:r>
              <a:rPr lang="en-US" dirty="0" err="1"/>
              <a:t>randn</a:t>
            </a:r>
            <a:endParaRPr lang="en-US" dirty="0"/>
          </a:p>
          <a:p>
            <a:pPr marL="336145" lvl="1" indent="-336145">
              <a:buFont typeface="Arial" panose="020B0604020202020204" pitchFamily="34" charset="0"/>
              <a:buChar char="•"/>
            </a:pPr>
            <a:r>
              <a:rPr lang="en-US" dirty="0"/>
              <a:t>Other – </a:t>
            </a:r>
            <a:r>
              <a:rPr lang="en-US" dirty="0" err="1"/>
              <a:t>monotonicallyIncreasingId</a:t>
            </a:r>
            <a:r>
              <a:rPr lang="en-US" dirty="0"/>
              <a:t>, </a:t>
            </a:r>
            <a:r>
              <a:rPr lang="en-US" dirty="0" err="1"/>
              <a:t>sparkPartitionId</a:t>
            </a:r>
            <a:endParaRPr lang="en-US" dirty="0"/>
          </a:p>
          <a:p>
            <a:pPr marL="336145" lvl="1" indent="-336145">
              <a:buFont typeface="Arial" panose="020B0604020202020204" pitchFamily="34" charset="0"/>
              <a:buChar char="•"/>
            </a:pPr>
            <a:endParaRPr lang="en-US" dirty="0"/>
          </a:p>
        </p:txBody>
      </p:sp>
      <p:pic>
        <p:nvPicPr>
          <p:cNvPr id="6" name="Picture 5"/>
          <p:cNvPicPr>
            <a:picLocks noChangeAspect="1"/>
          </p:cNvPicPr>
          <p:nvPr/>
        </p:nvPicPr>
        <p:blipFill>
          <a:blip r:embed="rId2"/>
          <a:stretch>
            <a:fillRect/>
          </a:stretch>
        </p:blipFill>
        <p:spPr>
          <a:xfrm>
            <a:off x="2958514" y="4325425"/>
            <a:ext cx="6274974" cy="1083180"/>
          </a:xfrm>
          <a:prstGeom prst="rect">
            <a:avLst/>
          </a:prstGeom>
        </p:spPr>
      </p:pic>
    </p:spTree>
    <p:extLst>
      <p:ext uri="{BB962C8B-B14F-4D97-AF65-F5344CB8AC3E}">
        <p14:creationId xmlns:p14="http://schemas.microsoft.com/office/powerpoint/2010/main" val="17767592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dicate pushdown</a:t>
            </a:r>
          </a:p>
        </p:txBody>
      </p:sp>
      <p:sp>
        <p:nvSpPr>
          <p:cNvPr id="3" name="Text Placeholder 2"/>
          <p:cNvSpPr>
            <a:spLocks noGrp="1"/>
          </p:cNvSpPr>
          <p:nvPr>
            <p:ph type="body" sz="quarter" idx="4294967295"/>
          </p:nvPr>
        </p:nvSpPr>
        <p:spPr>
          <a:xfrm>
            <a:off x="269239" y="1189495"/>
            <a:ext cx="11653523" cy="1267251"/>
          </a:xfrm>
        </p:spPr>
        <p:txBody>
          <a:bodyPr numCol="2"/>
          <a:lstStyle/>
          <a:p>
            <a:r>
              <a:rPr lang="en-US" dirty="0"/>
              <a:t>Spark code</a:t>
            </a:r>
          </a:p>
          <a:p>
            <a:r>
              <a:rPr lang="en-US" dirty="0"/>
              <a:t>        Query sent to </a:t>
            </a:r>
            <a:br>
              <a:rPr lang="en-US" dirty="0"/>
            </a:br>
            <a:r>
              <a:rPr lang="en-US" dirty="0"/>
              <a:t>        SQL Server</a:t>
            </a:r>
          </a:p>
        </p:txBody>
      </p:sp>
      <p:pic>
        <p:nvPicPr>
          <p:cNvPr id="5" name="Picture 4"/>
          <p:cNvPicPr>
            <a:picLocks noChangeAspect="1"/>
          </p:cNvPicPr>
          <p:nvPr/>
        </p:nvPicPr>
        <p:blipFill>
          <a:blip r:embed="rId2"/>
          <a:stretch>
            <a:fillRect/>
          </a:stretch>
        </p:blipFill>
        <p:spPr>
          <a:xfrm>
            <a:off x="418643" y="2906086"/>
            <a:ext cx="5499939" cy="1909069"/>
          </a:xfrm>
          <a:prstGeom prst="rect">
            <a:avLst/>
          </a:prstGeom>
        </p:spPr>
      </p:pic>
      <p:pic>
        <p:nvPicPr>
          <p:cNvPr id="6" name="Picture 5"/>
          <p:cNvPicPr>
            <a:picLocks noChangeAspect="1"/>
          </p:cNvPicPr>
          <p:nvPr/>
        </p:nvPicPr>
        <p:blipFill>
          <a:blip r:embed="rId3"/>
          <a:stretch>
            <a:fillRect/>
          </a:stretch>
        </p:blipFill>
        <p:spPr>
          <a:xfrm>
            <a:off x="7263218" y="3361050"/>
            <a:ext cx="2362453" cy="999140"/>
          </a:xfrm>
          <a:prstGeom prst="rect">
            <a:avLst/>
          </a:prstGeom>
        </p:spPr>
      </p:pic>
      <p:sp>
        <p:nvSpPr>
          <p:cNvPr id="7" name="Arrow: Right 6"/>
          <p:cNvSpPr/>
          <p:nvPr/>
        </p:nvSpPr>
        <p:spPr bwMode="auto">
          <a:xfrm>
            <a:off x="6142687" y="3665568"/>
            <a:ext cx="644302" cy="390103"/>
          </a:xfrm>
          <a:prstGeom prst="rightArrow">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119701895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rk Structured Data Model</a:t>
            </a:r>
          </a:p>
        </p:txBody>
      </p:sp>
      <p:sp>
        <p:nvSpPr>
          <p:cNvPr id="3" name="Text Placeholder 2"/>
          <p:cNvSpPr>
            <a:spLocks noGrp="1"/>
          </p:cNvSpPr>
          <p:nvPr>
            <p:ph type="body" sz="quarter" idx="4294967295"/>
          </p:nvPr>
        </p:nvSpPr>
        <p:spPr>
          <a:xfrm>
            <a:off x="269239" y="1189495"/>
            <a:ext cx="11653523" cy="4314687"/>
          </a:xfrm>
        </p:spPr>
        <p:txBody>
          <a:bodyPr/>
          <a:lstStyle/>
          <a:p>
            <a:r>
              <a:rPr lang="en-US" dirty="0"/>
              <a:t>Primitives</a:t>
            </a:r>
          </a:p>
          <a:p>
            <a:pPr lvl="1"/>
            <a:r>
              <a:rPr lang="en-US" dirty="0"/>
              <a:t>Byte, Short, Integer, Long, Float, Double, Decimal, </a:t>
            </a:r>
            <a:br>
              <a:rPr lang="en-US" dirty="0"/>
            </a:br>
            <a:r>
              <a:rPr lang="en-US" dirty="0"/>
              <a:t>String, Binary, Boolean, Timestamp, Date</a:t>
            </a:r>
          </a:p>
          <a:p>
            <a:r>
              <a:rPr lang="en-US" dirty="0"/>
              <a:t>Array[Type]</a:t>
            </a:r>
          </a:p>
          <a:p>
            <a:pPr lvl="1"/>
            <a:r>
              <a:rPr lang="en-US" dirty="0"/>
              <a:t>Variable length collection</a:t>
            </a:r>
          </a:p>
          <a:p>
            <a:r>
              <a:rPr lang="en-US" dirty="0" err="1"/>
              <a:t>Struct</a:t>
            </a:r>
            <a:endParaRPr lang="en-US" dirty="0"/>
          </a:p>
          <a:p>
            <a:pPr lvl="1"/>
            <a:r>
              <a:rPr lang="en-US" dirty="0"/>
              <a:t>Fixed number of nested columns with fixed types</a:t>
            </a:r>
          </a:p>
          <a:p>
            <a:r>
              <a:rPr lang="en-US" dirty="0"/>
              <a:t>Map[Type, Type]</a:t>
            </a:r>
          </a:p>
          <a:p>
            <a:pPr lvl="1"/>
            <a:r>
              <a:rPr lang="en-US" dirty="0"/>
              <a:t>Variable length association</a:t>
            </a:r>
          </a:p>
        </p:txBody>
      </p:sp>
    </p:spTree>
    <p:extLst>
      <p:ext uri="{BB962C8B-B14F-4D97-AF65-F5344CB8AC3E}">
        <p14:creationId xmlns:p14="http://schemas.microsoft.com/office/powerpoint/2010/main" val="67072116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ngsten’s compact row encoding</a:t>
            </a:r>
          </a:p>
        </p:txBody>
      </p:sp>
      <p:sp>
        <p:nvSpPr>
          <p:cNvPr id="5" name="TextBox 4"/>
          <p:cNvSpPr txBox="1"/>
          <p:nvPr/>
        </p:nvSpPr>
        <p:spPr>
          <a:xfrm>
            <a:off x="3705534" y="2233767"/>
            <a:ext cx="4359945"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latin typeface="Consolas" panose="020B0609020204030204" pitchFamily="49" charset="0"/>
              </a:rPr>
              <a:t>(</a:t>
            </a:r>
            <a:r>
              <a:rPr lang="en-US" sz="2353" kern="0" dirty="0">
                <a:solidFill>
                  <a:schemeClr val="accent1"/>
                </a:solidFill>
                <a:latin typeface="Consolas" panose="020B0609020204030204" pitchFamily="49" charset="0"/>
              </a:rPr>
              <a:t>123</a:t>
            </a:r>
            <a:r>
              <a:rPr lang="en-US" sz="2353" kern="0" dirty="0">
                <a:gradFill>
                  <a:gsLst>
                    <a:gs pos="2917">
                      <a:schemeClr val="tx1"/>
                    </a:gs>
                    <a:gs pos="30000">
                      <a:schemeClr val="tx1"/>
                    </a:gs>
                  </a:gsLst>
                  <a:lin ang="5400000" scaled="0"/>
                </a:gradFill>
                <a:latin typeface="Consolas" panose="020B0609020204030204" pitchFamily="49" charset="0"/>
              </a:rPr>
              <a:t>, </a:t>
            </a:r>
            <a:r>
              <a:rPr lang="en-US" sz="2353" kern="0" dirty="0">
                <a:solidFill>
                  <a:schemeClr val="accent2"/>
                </a:solidFill>
                <a:latin typeface="Consolas" panose="020B0609020204030204" pitchFamily="49" charset="0"/>
              </a:rPr>
              <a:t>“apache”</a:t>
            </a:r>
            <a:r>
              <a:rPr lang="en-US" sz="2353" kern="0" dirty="0">
                <a:gradFill>
                  <a:gsLst>
                    <a:gs pos="2917">
                      <a:schemeClr val="tx1"/>
                    </a:gs>
                    <a:gs pos="30000">
                      <a:schemeClr val="tx1"/>
                    </a:gs>
                  </a:gsLst>
                  <a:lin ang="5400000" scaled="0"/>
                </a:gradFill>
                <a:latin typeface="Consolas" panose="020B0609020204030204" pitchFamily="49" charset="0"/>
              </a:rPr>
              <a:t>, </a:t>
            </a:r>
            <a:r>
              <a:rPr lang="en-US" sz="2353" kern="0" dirty="0">
                <a:solidFill>
                  <a:srgbClr val="00B050"/>
                </a:solidFill>
                <a:latin typeface="Consolas" panose="020B0609020204030204" pitchFamily="49" charset="0"/>
              </a:rPr>
              <a:t>“spark”</a:t>
            </a:r>
            <a:r>
              <a:rPr lang="en-US" sz="2353" kern="0" dirty="0">
                <a:gradFill>
                  <a:gsLst>
                    <a:gs pos="2917">
                      <a:schemeClr val="tx1"/>
                    </a:gs>
                    <a:gs pos="30000">
                      <a:schemeClr val="tx1"/>
                    </a:gs>
                  </a:gsLst>
                  <a:lin ang="5400000" scaled="0"/>
                </a:gradFill>
                <a:latin typeface="Consolas" panose="020B0609020204030204" pitchFamily="49" charset="0"/>
              </a:rPr>
              <a:t>)</a:t>
            </a:r>
          </a:p>
        </p:txBody>
      </p:sp>
      <p:sp>
        <p:nvSpPr>
          <p:cNvPr id="6" name="Rectangle 5"/>
          <p:cNvSpPr/>
          <p:nvPr/>
        </p:nvSpPr>
        <p:spPr bwMode="auto">
          <a:xfrm>
            <a:off x="1005541" y="3879783"/>
            <a:ext cx="1269935" cy="44821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0x0</a:t>
            </a:r>
          </a:p>
        </p:txBody>
      </p:sp>
      <p:sp>
        <p:nvSpPr>
          <p:cNvPr id="7" name="Rectangle 6"/>
          <p:cNvSpPr/>
          <p:nvPr/>
        </p:nvSpPr>
        <p:spPr bwMode="auto">
          <a:xfrm>
            <a:off x="2283990" y="3879783"/>
            <a:ext cx="1269935" cy="44821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123</a:t>
            </a:r>
          </a:p>
        </p:txBody>
      </p:sp>
      <p:sp>
        <p:nvSpPr>
          <p:cNvPr id="8" name="Rectangle 7"/>
          <p:cNvSpPr/>
          <p:nvPr/>
        </p:nvSpPr>
        <p:spPr bwMode="auto">
          <a:xfrm>
            <a:off x="3562438" y="3879783"/>
            <a:ext cx="1269935" cy="44821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32</a:t>
            </a:r>
          </a:p>
        </p:txBody>
      </p:sp>
      <p:sp>
        <p:nvSpPr>
          <p:cNvPr id="9" name="Rectangle 8"/>
          <p:cNvSpPr/>
          <p:nvPr/>
        </p:nvSpPr>
        <p:spPr bwMode="auto">
          <a:xfrm>
            <a:off x="4846052" y="3879783"/>
            <a:ext cx="1269935" cy="4482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56</a:t>
            </a:r>
          </a:p>
        </p:txBody>
      </p:sp>
      <p:sp>
        <p:nvSpPr>
          <p:cNvPr id="10" name="Rectangle 9"/>
          <p:cNvSpPr/>
          <p:nvPr/>
        </p:nvSpPr>
        <p:spPr bwMode="auto">
          <a:xfrm>
            <a:off x="6129666" y="3879783"/>
            <a:ext cx="1269935" cy="44821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6</a:t>
            </a:r>
          </a:p>
        </p:txBody>
      </p:sp>
      <p:sp>
        <p:nvSpPr>
          <p:cNvPr id="11" name="Rectangle 10"/>
          <p:cNvSpPr/>
          <p:nvPr/>
        </p:nvSpPr>
        <p:spPr bwMode="auto">
          <a:xfrm>
            <a:off x="7413280" y="3879783"/>
            <a:ext cx="1269935" cy="44821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apache</a:t>
            </a:r>
          </a:p>
        </p:txBody>
      </p:sp>
      <p:sp>
        <p:nvSpPr>
          <p:cNvPr id="12" name="Rectangle 11"/>
          <p:cNvSpPr/>
          <p:nvPr/>
        </p:nvSpPr>
        <p:spPr bwMode="auto">
          <a:xfrm>
            <a:off x="8696894" y="3879783"/>
            <a:ext cx="1269935" cy="4482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5</a:t>
            </a:r>
          </a:p>
        </p:txBody>
      </p:sp>
      <p:sp>
        <p:nvSpPr>
          <p:cNvPr id="13" name="Rectangle 12"/>
          <p:cNvSpPr/>
          <p:nvPr/>
        </p:nvSpPr>
        <p:spPr bwMode="auto">
          <a:xfrm>
            <a:off x="9980508" y="3877213"/>
            <a:ext cx="1269935" cy="4482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spark</a:t>
            </a:r>
          </a:p>
        </p:txBody>
      </p:sp>
      <p:cxnSp>
        <p:nvCxnSpPr>
          <p:cNvPr id="17" name="Straight Connector 16"/>
          <p:cNvCxnSpPr/>
          <p:nvPr/>
        </p:nvCxnSpPr>
        <p:spPr>
          <a:xfrm>
            <a:off x="4303150" y="2681979"/>
            <a:ext cx="0" cy="167309"/>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2918958" y="2849288"/>
            <a:ext cx="1384193"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7" idx="0"/>
          </p:cNvCxnSpPr>
          <p:nvPr/>
        </p:nvCxnSpPr>
        <p:spPr>
          <a:xfrm flipV="1">
            <a:off x="2918957" y="2849289"/>
            <a:ext cx="0" cy="1030494"/>
          </a:xfrm>
          <a:prstGeom prst="line">
            <a:avLst/>
          </a:prstGeom>
          <a:ln w="19050">
            <a:solidFill>
              <a:schemeClr val="accent1"/>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5538148" y="2683417"/>
            <a:ext cx="0" cy="372073"/>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548143" y="3048193"/>
            <a:ext cx="2500105" cy="4008"/>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8038254" y="3048194"/>
            <a:ext cx="0" cy="829019"/>
          </a:xfrm>
          <a:prstGeom prst="line">
            <a:avLst/>
          </a:prstGeom>
          <a:ln w="19050">
            <a:solidFill>
              <a:schemeClr val="accent2"/>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7106683" y="2679409"/>
            <a:ext cx="0" cy="167309"/>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106684" y="2846718"/>
            <a:ext cx="3515704"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10622388" y="2849289"/>
            <a:ext cx="0" cy="1030494"/>
          </a:xfrm>
          <a:prstGeom prst="line">
            <a:avLst/>
          </a:prstGeom>
          <a:ln w="19050">
            <a:solidFill>
              <a:schemeClr val="accent3"/>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218025" y="4327163"/>
            <a:ext cx="0" cy="551698"/>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218026" y="4878860"/>
            <a:ext cx="2550292"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10" idx="2"/>
          </p:cNvCxnSpPr>
          <p:nvPr/>
        </p:nvCxnSpPr>
        <p:spPr>
          <a:xfrm>
            <a:off x="6764634" y="4327996"/>
            <a:ext cx="3469" cy="550865"/>
          </a:xfrm>
          <a:prstGeom prst="line">
            <a:avLst/>
          </a:prstGeom>
          <a:ln w="19050">
            <a:solidFill>
              <a:schemeClr val="accent2"/>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5498168" y="4327162"/>
            <a:ext cx="0" cy="297071"/>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498168" y="4624233"/>
            <a:ext cx="3843900"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9335301" y="4342230"/>
            <a:ext cx="6767" cy="282003"/>
          </a:xfrm>
          <a:prstGeom prst="line">
            <a:avLst/>
          </a:prstGeom>
          <a:ln w="19050">
            <a:solidFill>
              <a:schemeClr val="accent3"/>
            </a:solidFill>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7011329" y="4540056"/>
            <a:ext cx="2196756"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offset to data</a:t>
            </a:r>
          </a:p>
        </p:txBody>
      </p:sp>
      <p:sp>
        <p:nvSpPr>
          <p:cNvPr id="54" name="TextBox 53"/>
          <p:cNvSpPr txBox="1"/>
          <p:nvPr/>
        </p:nvSpPr>
        <p:spPr>
          <a:xfrm>
            <a:off x="4433895" y="4775374"/>
            <a:ext cx="2196756"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offset to data</a:t>
            </a:r>
          </a:p>
        </p:txBody>
      </p:sp>
      <p:sp>
        <p:nvSpPr>
          <p:cNvPr id="60" name="TextBox 59"/>
          <p:cNvSpPr txBox="1"/>
          <p:nvPr/>
        </p:nvSpPr>
        <p:spPr>
          <a:xfrm>
            <a:off x="649245" y="4772536"/>
            <a:ext cx="1979136"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null bitmask</a:t>
            </a:r>
          </a:p>
        </p:txBody>
      </p:sp>
      <p:cxnSp>
        <p:nvCxnSpPr>
          <p:cNvPr id="61" name="Straight Connector 60"/>
          <p:cNvCxnSpPr/>
          <p:nvPr/>
        </p:nvCxnSpPr>
        <p:spPr>
          <a:xfrm>
            <a:off x="1638813" y="4327995"/>
            <a:ext cx="4633" cy="515676"/>
          </a:xfrm>
          <a:prstGeom prst="line">
            <a:avLst/>
          </a:prstGeom>
          <a:ln w="19050">
            <a:solidFill>
              <a:srgbClr val="505050"/>
            </a:solidFill>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025871" y="3426358"/>
            <a:ext cx="1493545"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dirty="0">
                <a:gradFill>
                  <a:gsLst>
                    <a:gs pos="2917">
                      <a:schemeClr val="tx1"/>
                    </a:gs>
                    <a:gs pos="30000">
                      <a:schemeClr val="tx1"/>
                    </a:gs>
                  </a:gsLst>
                  <a:lin ang="5400000" scaled="0"/>
                </a:gradFill>
              </a:rPr>
              <a:t>field length</a:t>
            </a:r>
          </a:p>
        </p:txBody>
      </p:sp>
      <p:sp>
        <p:nvSpPr>
          <p:cNvPr id="70" name="TextBox 69"/>
          <p:cNvSpPr txBox="1"/>
          <p:nvPr/>
        </p:nvSpPr>
        <p:spPr>
          <a:xfrm>
            <a:off x="8591911" y="3426358"/>
            <a:ext cx="1493545"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dirty="0">
                <a:gradFill>
                  <a:gsLst>
                    <a:gs pos="2917">
                      <a:schemeClr val="tx1"/>
                    </a:gs>
                    <a:gs pos="30000">
                      <a:schemeClr val="tx1"/>
                    </a:gs>
                  </a:gsLst>
                  <a:lin ang="5400000" scaled="0"/>
                </a:gradFill>
              </a:rPr>
              <a:t>field length</a:t>
            </a:r>
          </a:p>
        </p:txBody>
      </p:sp>
    </p:spTree>
    <p:extLst>
      <p:ext uri="{BB962C8B-B14F-4D97-AF65-F5344CB8AC3E}">
        <p14:creationId xmlns:p14="http://schemas.microsoft.com/office/powerpoint/2010/main" val="66900747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ngsten’s compact encoding types</a:t>
            </a:r>
          </a:p>
        </p:txBody>
      </p:sp>
      <p:sp>
        <p:nvSpPr>
          <p:cNvPr id="3" name="Text Placeholder 2"/>
          <p:cNvSpPr>
            <a:spLocks noGrp="1"/>
          </p:cNvSpPr>
          <p:nvPr>
            <p:ph type="body" sz="quarter" idx="4294967295"/>
          </p:nvPr>
        </p:nvSpPr>
        <p:spPr>
          <a:xfrm>
            <a:off x="269239" y="1189495"/>
            <a:ext cx="11653523" cy="1719840"/>
          </a:xfrm>
        </p:spPr>
        <p:txBody>
          <a:bodyPr/>
          <a:lstStyle/>
          <a:p>
            <a:pPr marL="728314" indent="-728314">
              <a:buFont typeface="+mj-lt"/>
              <a:buAutoNum type="arabicPeriod"/>
            </a:pPr>
            <a:r>
              <a:rPr lang="en-US" dirty="0"/>
              <a:t>Row oriented</a:t>
            </a:r>
          </a:p>
          <a:p>
            <a:pPr marL="728314" indent="-728314">
              <a:buFont typeface="+mj-lt"/>
              <a:buAutoNum type="arabicPeriod"/>
            </a:pPr>
            <a:r>
              <a:rPr lang="en-US" dirty="0"/>
              <a:t>Column oriented (new in 2.0)</a:t>
            </a:r>
          </a:p>
          <a:p>
            <a:pPr lvl="1"/>
            <a:r>
              <a:rPr lang="en-US" dirty="0"/>
              <a:t>Used in </a:t>
            </a:r>
            <a:r>
              <a:rPr lang="en-US" dirty="0" err="1"/>
              <a:t>vectorized</a:t>
            </a:r>
            <a:r>
              <a:rPr lang="en-US" dirty="0"/>
              <a:t> processing of data (new Parquet reader)</a:t>
            </a:r>
          </a:p>
        </p:txBody>
      </p:sp>
    </p:spTree>
    <p:extLst>
      <p:ext uri="{BB962C8B-B14F-4D97-AF65-F5344CB8AC3E}">
        <p14:creationId xmlns:p14="http://schemas.microsoft.com/office/powerpoint/2010/main" val="193170666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ce efficiency</a:t>
            </a:r>
          </a:p>
        </p:txBody>
      </p:sp>
      <p:graphicFrame>
        <p:nvGraphicFramePr>
          <p:cNvPr id="7" name="Chart 6"/>
          <p:cNvGraphicFramePr/>
          <p:nvPr>
            <p:extLst/>
          </p:nvPr>
        </p:nvGraphicFramePr>
        <p:xfrm>
          <a:off x="3182621" y="1337342"/>
          <a:ext cx="5826760" cy="448212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8466795" y="5819466"/>
            <a:ext cx="3458286" cy="561211"/>
          </a:xfrm>
          <a:prstGeom prst="rect">
            <a:avLst/>
          </a:prstGeom>
          <a:noFill/>
        </p:spPr>
        <p:txBody>
          <a:bodyPr wrap="none" lIns="179285" tIns="143428" rIns="179285" bIns="143428" rtlCol="0">
            <a:spAutoFit/>
          </a:bodyPr>
          <a:lstStyle/>
          <a:p>
            <a:pPr marL="336145" indent="-336145"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rPr>
              <a:t>Databricks</a:t>
            </a:r>
            <a:r>
              <a:rPr lang="en-US" sz="1961" kern="0" dirty="0">
                <a:gradFill>
                  <a:gsLst>
                    <a:gs pos="2917">
                      <a:schemeClr val="tx1"/>
                    </a:gs>
                    <a:gs pos="30000">
                      <a:schemeClr val="tx1"/>
                    </a:gs>
                  </a:gsLst>
                  <a:lin ang="5400000" scaled="0"/>
                </a:gradFill>
              </a:rPr>
              <a:t> reported data</a:t>
            </a:r>
          </a:p>
        </p:txBody>
      </p:sp>
      <p:sp>
        <p:nvSpPr>
          <p:cNvPr id="9" name="TextBox 8"/>
          <p:cNvSpPr txBox="1"/>
          <p:nvPr/>
        </p:nvSpPr>
        <p:spPr>
          <a:xfrm>
            <a:off x="2510301" y="3311376"/>
            <a:ext cx="743944"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dirty="0">
                <a:solidFill>
                  <a:schemeClr val="bg1">
                    <a:lumMod val="50000"/>
                  </a:schemeClr>
                </a:solidFill>
              </a:rPr>
              <a:t>GBs</a:t>
            </a:r>
          </a:p>
        </p:txBody>
      </p:sp>
    </p:spTree>
    <p:extLst>
      <p:ext uri="{BB962C8B-B14F-4D97-AF65-F5344CB8AC3E}">
        <p14:creationId xmlns:p14="http://schemas.microsoft.com/office/powerpoint/2010/main" val="5361601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SQL overview</a:t>
            </a:r>
          </a:p>
        </p:txBody>
      </p:sp>
      <p:grpSp>
        <p:nvGrpSpPr>
          <p:cNvPr id="7" name="Group 6"/>
          <p:cNvGrpSpPr/>
          <p:nvPr/>
        </p:nvGrpSpPr>
        <p:grpSpPr>
          <a:xfrm>
            <a:off x="8188588" y="1458984"/>
            <a:ext cx="2688994" cy="4669165"/>
            <a:chOff x="7190736" y="1487743"/>
            <a:chExt cx="2742914" cy="4762791"/>
          </a:xfrm>
          <a:solidFill>
            <a:srgbClr val="00B0F0"/>
          </a:solidFill>
        </p:grpSpPr>
        <p:sp>
          <p:nvSpPr>
            <p:cNvPr id="26" name="Text Placeholder 5"/>
            <p:cNvSpPr txBox="1">
              <a:spLocks/>
            </p:cNvSpPr>
            <p:nvPr/>
          </p:nvSpPr>
          <p:spPr>
            <a:xfrm>
              <a:off x="7190736" y="4350291"/>
              <a:ext cx="2742914" cy="1900243"/>
            </a:xfrm>
            <a:prstGeom prst="rect">
              <a:avLst/>
            </a:prstGeom>
            <a:grp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You run interactive Spark SQL statements using notebooks, or develop Scala/R/Python scripts.</a:t>
              </a:r>
            </a:p>
          </p:txBody>
        </p:sp>
        <p:sp>
          <p:nvSpPr>
            <p:cNvPr id="29" name="Text Placeholder 8"/>
            <p:cNvSpPr txBox="1">
              <a:spLocks/>
            </p:cNvSpPr>
            <p:nvPr/>
          </p:nvSpPr>
          <p:spPr>
            <a:xfrm>
              <a:off x="7190736" y="1487743"/>
              <a:ext cx="2742914" cy="2743200"/>
            </a:xfrm>
            <a:prstGeom prst="rect">
              <a:avLst/>
            </a:prstGeom>
            <a:grp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a:p>
              <a:pPr marL="0" indent="0" defTabSz="914102">
                <a:spcBef>
                  <a:spcPct val="0"/>
                </a:spcBef>
                <a:buNone/>
              </a:pPr>
              <a:r>
                <a:rPr lang="en-US" sz="2353" dirty="0">
                  <a:ea typeface="Segoe UI" pitchFamily="34" charset="0"/>
                  <a:cs typeface="Segoe UI" pitchFamily="34" charset="0"/>
                </a:rPr>
                <a:t>Run Spark SQL statements using notebooks</a:t>
              </a:r>
            </a:p>
          </p:txBody>
        </p:sp>
        <p:sp>
          <p:nvSpPr>
            <p:cNvPr id="32" name="TextBox 31"/>
            <p:cNvSpPr txBox="1"/>
            <p:nvPr/>
          </p:nvSpPr>
          <p:spPr>
            <a:xfrm>
              <a:off x="7190736" y="1502454"/>
              <a:ext cx="941097" cy="939800"/>
            </a:xfrm>
            <a:prstGeom prst="rect">
              <a:avLst/>
            </a:prstGeom>
            <a:grpFill/>
          </p:spPr>
          <p:txBody>
            <a:bodyPr wrap="square" lIns="179285" tIns="143428" rIns="179285" bIns="143428" rtlCol="0">
              <a:noAutofit/>
            </a:bodyPr>
            <a:lstStyle/>
            <a:p>
              <a:pPr defTabSz="896386">
                <a:lnSpc>
                  <a:spcPct val="90000"/>
                </a:lnSpc>
                <a:spcAft>
                  <a:spcPts val="588"/>
                </a:spcAft>
              </a:pPr>
              <a:r>
                <a:rPr lang="en-US" sz="5882" kern="0" dirty="0">
                  <a:gradFill>
                    <a:gsLst>
                      <a:gs pos="2917">
                        <a:schemeClr val="tx1"/>
                      </a:gs>
                      <a:gs pos="30000">
                        <a:schemeClr val="tx1"/>
                      </a:gs>
                    </a:gsLst>
                    <a:lin ang="5400000" scaled="0"/>
                  </a:gradFill>
                </a:rPr>
                <a:t>3</a:t>
              </a:r>
            </a:p>
          </p:txBody>
        </p:sp>
      </p:grpSp>
      <p:grpSp>
        <p:nvGrpSpPr>
          <p:cNvPr id="4" name="Group 3"/>
          <p:cNvGrpSpPr/>
          <p:nvPr/>
        </p:nvGrpSpPr>
        <p:grpSpPr>
          <a:xfrm>
            <a:off x="1599812" y="1458984"/>
            <a:ext cx="3274451" cy="4669189"/>
            <a:chOff x="1631890" y="1487743"/>
            <a:chExt cx="3340111" cy="4762816"/>
          </a:xfrm>
          <a:solidFill>
            <a:srgbClr val="00B0F0"/>
          </a:solidFill>
        </p:grpSpPr>
        <p:grpSp>
          <p:nvGrpSpPr>
            <p:cNvPr id="5" name="Group 4"/>
            <p:cNvGrpSpPr/>
            <p:nvPr/>
          </p:nvGrpSpPr>
          <p:grpSpPr>
            <a:xfrm>
              <a:off x="1631890" y="1487743"/>
              <a:ext cx="2743200" cy="4762816"/>
              <a:chOff x="469840" y="1487743"/>
              <a:chExt cx="2743200" cy="4762816"/>
            </a:xfrm>
            <a:grpFill/>
          </p:grpSpPr>
          <p:sp>
            <p:nvSpPr>
              <p:cNvPr id="22" name="Text Placeholder 2"/>
              <p:cNvSpPr txBox="1">
                <a:spLocks/>
              </p:cNvSpPr>
              <p:nvPr/>
            </p:nvSpPr>
            <p:spPr>
              <a:xfrm>
                <a:off x="469840" y="4350296"/>
                <a:ext cx="2743200" cy="1900263"/>
              </a:xfrm>
              <a:prstGeom prst="rect">
                <a:avLst/>
              </a:prstGeom>
              <a:grp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HDInsight uses Azure Blob storage or ADLS for storing data.</a:t>
                </a:r>
              </a:p>
              <a:p>
                <a:pPr marL="0" indent="0" defTabSz="914102">
                  <a:spcBef>
                    <a:spcPct val="0"/>
                  </a:spcBef>
                  <a:buNone/>
                </a:pPr>
                <a:r>
                  <a:rPr lang="en-US" sz="1765" dirty="0">
                    <a:solidFill>
                      <a:schemeClr val="bg1"/>
                    </a:solidFill>
                    <a:ea typeface="Segoe UI" pitchFamily="34" charset="0"/>
                    <a:cs typeface="Segoe UI" pitchFamily="34" charset="0"/>
                  </a:rPr>
                  <a:t>Separates compute from storage.</a:t>
                </a:r>
              </a:p>
            </p:txBody>
          </p:sp>
          <p:sp>
            <p:nvSpPr>
              <p:cNvPr id="27" name="Text Placeholder 6"/>
              <p:cNvSpPr txBox="1">
                <a:spLocks/>
              </p:cNvSpPr>
              <p:nvPr/>
            </p:nvSpPr>
            <p:spPr>
              <a:xfrm>
                <a:off x="469840" y="1487743"/>
                <a:ext cx="2743200" cy="2743200"/>
              </a:xfrm>
              <a:prstGeom prst="rect">
                <a:avLst/>
              </a:prstGeom>
              <a:grp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a:p>
                <a:pPr marL="0" indent="0" defTabSz="914102">
                  <a:spcBef>
                    <a:spcPct val="0"/>
                  </a:spcBef>
                  <a:buNone/>
                </a:pPr>
                <a:r>
                  <a:rPr lang="en-US" sz="2353" dirty="0">
                    <a:ea typeface="Segoe UI" pitchFamily="34" charset="0"/>
                    <a:cs typeface="Segoe UI" pitchFamily="34" charset="0"/>
                  </a:rPr>
                  <a:t>Create an Azure storage or Data Lake Store account</a:t>
                </a:r>
              </a:p>
            </p:txBody>
          </p:sp>
          <p:sp>
            <p:nvSpPr>
              <p:cNvPr id="30" name="TextBox 29"/>
              <p:cNvSpPr txBox="1"/>
              <p:nvPr/>
            </p:nvSpPr>
            <p:spPr>
              <a:xfrm>
                <a:off x="469840" y="1502454"/>
                <a:ext cx="941097" cy="939800"/>
              </a:xfrm>
              <a:prstGeom prst="rect">
                <a:avLst/>
              </a:prstGeom>
              <a:grpFill/>
            </p:spPr>
            <p:txBody>
              <a:bodyPr wrap="square" lIns="179285" tIns="143428" rIns="179285" bIns="143428" rtlCol="0">
                <a:noAutofit/>
              </a:bodyPr>
              <a:lstStyle/>
              <a:p>
                <a:pPr defTabSz="896386">
                  <a:lnSpc>
                    <a:spcPct val="90000"/>
                  </a:lnSpc>
                  <a:spcAft>
                    <a:spcPts val="588"/>
                  </a:spcAft>
                </a:pPr>
                <a:r>
                  <a:rPr lang="en-US" sz="5882" kern="0" dirty="0">
                    <a:gradFill>
                      <a:gsLst>
                        <a:gs pos="2917">
                          <a:schemeClr val="tx1"/>
                        </a:gs>
                        <a:gs pos="30000">
                          <a:schemeClr val="tx1"/>
                        </a:gs>
                      </a:gsLst>
                      <a:lin ang="5400000" scaled="0"/>
                    </a:gradFill>
                  </a:rPr>
                  <a:t>1</a:t>
                </a:r>
              </a:p>
            </p:txBody>
          </p:sp>
        </p:grpSp>
        <p:sp>
          <p:nvSpPr>
            <p:cNvPr id="9" name="Right Arrow 8"/>
            <p:cNvSpPr/>
            <p:nvPr/>
          </p:nvSpPr>
          <p:spPr bwMode="auto">
            <a:xfrm>
              <a:off x="4377091" y="1872867"/>
              <a:ext cx="594910" cy="848299"/>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grpSp>
        <p:nvGrpSpPr>
          <p:cNvPr id="8" name="Group 7"/>
          <p:cNvGrpSpPr/>
          <p:nvPr/>
        </p:nvGrpSpPr>
        <p:grpSpPr>
          <a:xfrm>
            <a:off x="4894256" y="1458984"/>
            <a:ext cx="3259969" cy="4669165"/>
            <a:chOff x="4992396" y="1487743"/>
            <a:chExt cx="3325338" cy="4762791"/>
          </a:xfrm>
          <a:solidFill>
            <a:srgbClr val="00B0F0"/>
          </a:solidFill>
        </p:grpSpPr>
        <p:grpSp>
          <p:nvGrpSpPr>
            <p:cNvPr id="6" name="Group 5"/>
            <p:cNvGrpSpPr/>
            <p:nvPr/>
          </p:nvGrpSpPr>
          <p:grpSpPr>
            <a:xfrm>
              <a:off x="4992396" y="1487743"/>
              <a:ext cx="2743084" cy="4762791"/>
              <a:chOff x="3830346" y="1487743"/>
              <a:chExt cx="2743084" cy="4762791"/>
            </a:xfrm>
            <a:grpFill/>
          </p:grpSpPr>
          <p:sp>
            <p:nvSpPr>
              <p:cNvPr id="25" name="Text Placeholder 3"/>
              <p:cNvSpPr txBox="1">
                <a:spLocks/>
              </p:cNvSpPr>
              <p:nvPr/>
            </p:nvSpPr>
            <p:spPr>
              <a:xfrm>
                <a:off x="3830431" y="4350291"/>
                <a:ext cx="2742914" cy="1900243"/>
              </a:xfrm>
              <a:prstGeom prst="rect">
                <a:avLst/>
              </a:prstGeom>
              <a:grp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HDInsight makes Apache Spark available as a service in cloud.</a:t>
                </a:r>
              </a:p>
            </p:txBody>
          </p:sp>
          <p:sp>
            <p:nvSpPr>
              <p:cNvPr id="28" name="Text Placeholder 7"/>
              <p:cNvSpPr txBox="1">
                <a:spLocks/>
              </p:cNvSpPr>
              <p:nvPr/>
            </p:nvSpPr>
            <p:spPr>
              <a:xfrm>
                <a:off x="3830516" y="1487743"/>
                <a:ext cx="2742914" cy="2743200"/>
              </a:xfrm>
              <a:prstGeom prst="rect">
                <a:avLst/>
              </a:prstGeom>
              <a:grp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a:p>
                <a:pPr marL="0" indent="0" defTabSz="914102">
                  <a:spcBef>
                    <a:spcPct val="0"/>
                  </a:spcBef>
                  <a:buNone/>
                </a:pPr>
                <a:r>
                  <a:rPr lang="en-US" sz="2353" dirty="0">
                    <a:ea typeface="Segoe UI" pitchFamily="34" charset="0"/>
                    <a:cs typeface="Segoe UI" pitchFamily="34" charset="0"/>
                  </a:rPr>
                  <a:t>HDInsight makes Apache Spark available as a service in cloud.</a:t>
                </a:r>
              </a:p>
            </p:txBody>
          </p:sp>
          <p:sp>
            <p:nvSpPr>
              <p:cNvPr id="31" name="TextBox 30"/>
              <p:cNvSpPr txBox="1"/>
              <p:nvPr/>
            </p:nvSpPr>
            <p:spPr>
              <a:xfrm>
                <a:off x="3830346" y="1502454"/>
                <a:ext cx="941097" cy="939800"/>
              </a:xfrm>
              <a:prstGeom prst="rect">
                <a:avLst/>
              </a:prstGeom>
              <a:grpFill/>
            </p:spPr>
            <p:txBody>
              <a:bodyPr wrap="square" lIns="179285" tIns="143428" rIns="179285" bIns="143428" rtlCol="0">
                <a:noAutofit/>
              </a:bodyPr>
              <a:lstStyle/>
              <a:p>
                <a:pPr defTabSz="896386">
                  <a:lnSpc>
                    <a:spcPct val="90000"/>
                  </a:lnSpc>
                  <a:spcAft>
                    <a:spcPts val="588"/>
                  </a:spcAft>
                </a:pPr>
                <a:r>
                  <a:rPr lang="en-US" sz="5882" kern="0" dirty="0">
                    <a:gradFill>
                      <a:gsLst>
                        <a:gs pos="2917">
                          <a:schemeClr val="tx1"/>
                        </a:gs>
                        <a:gs pos="30000">
                          <a:schemeClr val="tx1"/>
                        </a:gs>
                      </a:gsLst>
                      <a:lin ang="5400000" scaled="0"/>
                    </a:gradFill>
                  </a:rPr>
                  <a:t>2</a:t>
                </a:r>
              </a:p>
            </p:txBody>
          </p:sp>
        </p:grpSp>
        <p:sp>
          <p:nvSpPr>
            <p:cNvPr id="19" name="Right Arrow 18"/>
            <p:cNvSpPr/>
            <p:nvPr/>
          </p:nvSpPr>
          <p:spPr bwMode="auto">
            <a:xfrm>
              <a:off x="7722824" y="1872867"/>
              <a:ext cx="594910" cy="848299"/>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spTree>
    <p:extLst>
      <p:ext uri="{BB962C8B-B14F-4D97-AF65-F5344CB8AC3E}">
        <p14:creationId xmlns:p14="http://schemas.microsoft.com/office/powerpoint/2010/main" val="81611940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ialization performance</a:t>
            </a:r>
          </a:p>
        </p:txBody>
      </p:sp>
      <p:graphicFrame>
        <p:nvGraphicFramePr>
          <p:cNvPr id="7" name="Chart 6"/>
          <p:cNvGraphicFramePr/>
          <p:nvPr>
            <p:extLst/>
          </p:nvPr>
        </p:nvGraphicFramePr>
        <p:xfrm>
          <a:off x="3182621" y="1337342"/>
          <a:ext cx="5826760" cy="448212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8466795" y="5819466"/>
            <a:ext cx="3458286" cy="561211"/>
          </a:xfrm>
          <a:prstGeom prst="rect">
            <a:avLst/>
          </a:prstGeom>
          <a:noFill/>
        </p:spPr>
        <p:txBody>
          <a:bodyPr wrap="none" lIns="179285" tIns="143428" rIns="179285" bIns="143428" rtlCol="0">
            <a:spAutoFit/>
          </a:bodyPr>
          <a:lstStyle/>
          <a:p>
            <a:pPr marL="336145" indent="-336145"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rPr>
              <a:t>Databricks</a:t>
            </a:r>
            <a:r>
              <a:rPr lang="en-US" sz="1961" kern="0" dirty="0">
                <a:gradFill>
                  <a:gsLst>
                    <a:gs pos="2917">
                      <a:schemeClr val="tx1"/>
                    </a:gs>
                    <a:gs pos="30000">
                      <a:schemeClr val="tx1"/>
                    </a:gs>
                  </a:gsLst>
                  <a:lin ang="5400000" scaled="0"/>
                </a:gradFill>
              </a:rPr>
              <a:t> reported data</a:t>
            </a:r>
          </a:p>
        </p:txBody>
      </p:sp>
      <p:sp>
        <p:nvSpPr>
          <p:cNvPr id="5" name="TextBox 4"/>
          <p:cNvSpPr txBox="1"/>
          <p:nvPr/>
        </p:nvSpPr>
        <p:spPr>
          <a:xfrm>
            <a:off x="1389770" y="3189177"/>
            <a:ext cx="1867561" cy="778454"/>
          </a:xfrm>
          <a:prstGeom prst="rect">
            <a:avLst/>
          </a:prstGeom>
          <a:noFill/>
        </p:spPr>
        <p:txBody>
          <a:bodyPr wrap="none" lIns="179285" tIns="143428" rIns="179285" bIns="143428" rtlCol="0">
            <a:spAutoFit/>
          </a:bodyPr>
          <a:lstStyle/>
          <a:p>
            <a:pPr algn="ctr" defTabSz="896386">
              <a:lnSpc>
                <a:spcPct val="90000"/>
              </a:lnSpc>
              <a:spcAft>
                <a:spcPts val="588"/>
              </a:spcAft>
            </a:pPr>
            <a:r>
              <a:rPr lang="en-US" sz="1765" kern="0" dirty="0">
                <a:solidFill>
                  <a:schemeClr val="bg1">
                    <a:lumMod val="50000"/>
                  </a:schemeClr>
                </a:solidFill>
              </a:rPr>
              <a:t>million object /</a:t>
            </a:r>
            <a:br>
              <a:rPr lang="en-US" sz="1765" kern="0" dirty="0">
                <a:solidFill>
                  <a:schemeClr val="bg1">
                    <a:lumMod val="50000"/>
                  </a:schemeClr>
                </a:solidFill>
              </a:rPr>
            </a:br>
            <a:r>
              <a:rPr lang="en-US" sz="1765" kern="0" dirty="0">
                <a:solidFill>
                  <a:schemeClr val="bg1">
                    <a:lumMod val="50000"/>
                  </a:schemeClr>
                </a:solidFill>
              </a:rPr>
              <a:t>second</a:t>
            </a:r>
          </a:p>
        </p:txBody>
      </p:sp>
    </p:spTree>
    <p:extLst>
      <p:ext uri="{BB962C8B-B14F-4D97-AF65-F5344CB8AC3E}">
        <p14:creationId xmlns:p14="http://schemas.microsoft.com/office/powerpoint/2010/main" val="40168680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ole-stage </a:t>
            </a:r>
            <a:r>
              <a:rPr lang="en-US" dirty="0" err="1"/>
              <a:t>codegen</a:t>
            </a:r>
            <a:r>
              <a:rPr lang="en-US" dirty="0"/>
              <a:t>: Spark as a Compiler</a:t>
            </a:r>
          </a:p>
        </p:txBody>
      </p:sp>
      <p:pic>
        <p:nvPicPr>
          <p:cNvPr id="4" name="Picture 3"/>
          <p:cNvPicPr>
            <a:picLocks noChangeAspect="1"/>
          </p:cNvPicPr>
          <p:nvPr/>
        </p:nvPicPr>
        <p:blipFill rotWithShape="1">
          <a:blip r:embed="rId2"/>
          <a:srcRect l="44110" t="33381" r="3760" b="23700"/>
          <a:stretch/>
        </p:blipFill>
        <p:spPr>
          <a:xfrm>
            <a:off x="5859075" y="2892126"/>
            <a:ext cx="4855634" cy="2016956"/>
          </a:xfrm>
          <a:prstGeom prst="rect">
            <a:avLst/>
          </a:prstGeom>
        </p:spPr>
      </p:pic>
      <p:sp>
        <p:nvSpPr>
          <p:cNvPr id="5" name="Rectangle 4"/>
          <p:cNvSpPr/>
          <p:nvPr/>
        </p:nvSpPr>
        <p:spPr bwMode="auto">
          <a:xfrm>
            <a:off x="1601057" y="5200579"/>
            <a:ext cx="1718148" cy="74702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Scan</a:t>
            </a:r>
          </a:p>
        </p:txBody>
      </p:sp>
      <p:sp>
        <p:nvSpPr>
          <p:cNvPr id="6" name="Rectangle 5"/>
          <p:cNvSpPr/>
          <p:nvPr/>
        </p:nvSpPr>
        <p:spPr bwMode="auto">
          <a:xfrm>
            <a:off x="1601057" y="4080048"/>
            <a:ext cx="1718148" cy="747021"/>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Filter</a:t>
            </a:r>
          </a:p>
        </p:txBody>
      </p:sp>
      <p:sp>
        <p:nvSpPr>
          <p:cNvPr id="7" name="Rectangle 6"/>
          <p:cNvSpPr/>
          <p:nvPr/>
        </p:nvSpPr>
        <p:spPr bwMode="auto">
          <a:xfrm>
            <a:off x="1601057" y="2982861"/>
            <a:ext cx="1718148" cy="74702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Project</a:t>
            </a:r>
          </a:p>
        </p:txBody>
      </p:sp>
      <p:sp>
        <p:nvSpPr>
          <p:cNvPr id="8" name="Rectangle 7"/>
          <p:cNvSpPr/>
          <p:nvPr/>
        </p:nvSpPr>
        <p:spPr bwMode="auto">
          <a:xfrm>
            <a:off x="1601057" y="1920999"/>
            <a:ext cx="1718148" cy="747021"/>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Aggregate</a:t>
            </a:r>
          </a:p>
        </p:txBody>
      </p:sp>
      <p:sp>
        <p:nvSpPr>
          <p:cNvPr id="9" name="Arrow: Right 8"/>
          <p:cNvSpPr/>
          <p:nvPr/>
        </p:nvSpPr>
        <p:spPr bwMode="auto">
          <a:xfrm>
            <a:off x="3767417" y="3676498"/>
            <a:ext cx="1643445" cy="448212"/>
          </a:xfrm>
          <a:prstGeom prst="rightArrow">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cxnSp>
        <p:nvCxnSpPr>
          <p:cNvPr id="11" name="Straight Arrow Connector 10"/>
          <p:cNvCxnSpPr>
            <a:stCxn id="5" idx="0"/>
            <a:endCxn id="6" idx="2"/>
          </p:cNvCxnSpPr>
          <p:nvPr/>
        </p:nvCxnSpPr>
        <p:spPr>
          <a:xfrm flipV="1">
            <a:off x="2460131" y="4827069"/>
            <a:ext cx="0" cy="37351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6" idx="0"/>
            <a:endCxn id="7" idx="2"/>
          </p:cNvCxnSpPr>
          <p:nvPr/>
        </p:nvCxnSpPr>
        <p:spPr>
          <a:xfrm flipV="1">
            <a:off x="2460131" y="3729882"/>
            <a:ext cx="0" cy="35016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7" idx="0"/>
            <a:endCxn id="8" idx="2"/>
          </p:cNvCxnSpPr>
          <p:nvPr/>
        </p:nvCxnSpPr>
        <p:spPr>
          <a:xfrm flipV="1">
            <a:off x="2460131" y="2668020"/>
            <a:ext cx="0" cy="31484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601057" y="6093373"/>
            <a:ext cx="1841914"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Query plan</a:t>
            </a:r>
          </a:p>
        </p:txBody>
      </p:sp>
    </p:spTree>
    <p:extLst>
      <p:ext uri="{BB962C8B-B14F-4D97-AF65-F5344CB8AC3E}">
        <p14:creationId xmlns:p14="http://schemas.microsoft.com/office/powerpoint/2010/main" val="160894507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21" dirty="0"/>
              <a:t>Generated code operates directly on compact encoding</a:t>
            </a:r>
          </a:p>
        </p:txBody>
      </p:sp>
      <p:sp>
        <p:nvSpPr>
          <p:cNvPr id="3" name="Text Placeholder 2"/>
          <p:cNvSpPr>
            <a:spLocks noGrp="1"/>
          </p:cNvSpPr>
          <p:nvPr>
            <p:ph type="body" sz="quarter" idx="4294967295"/>
          </p:nvPr>
        </p:nvSpPr>
        <p:spPr/>
        <p:txBody>
          <a:bodyPr/>
          <a:lstStyle/>
          <a:p>
            <a:pPr marL="0" indent="0">
              <a:buNone/>
            </a:pPr>
            <a:endParaRPr lang="en-US" dirty="0"/>
          </a:p>
          <a:p>
            <a:pPr marL="0" indent="0">
              <a:buNone/>
            </a:pPr>
            <a:endParaRPr lang="en-US" dirty="0"/>
          </a:p>
        </p:txBody>
      </p:sp>
      <p:graphicFrame>
        <p:nvGraphicFramePr>
          <p:cNvPr id="4" name="Table 3"/>
          <p:cNvGraphicFramePr>
            <a:graphicFrameLocks noGrp="1"/>
          </p:cNvGraphicFramePr>
          <p:nvPr>
            <p:extLst/>
          </p:nvPr>
        </p:nvGraphicFramePr>
        <p:xfrm>
          <a:off x="1240365" y="1785554"/>
          <a:ext cx="9636567" cy="3899613"/>
        </p:xfrm>
        <a:graphic>
          <a:graphicData uri="http://schemas.openxmlformats.org/drawingml/2006/table">
            <a:tbl>
              <a:tblPr bandRow="1">
                <a:tableStyleId>{21E4AEA4-8DFA-4A89-87EB-49C32662AFE0}</a:tableStyleId>
              </a:tblPr>
              <a:tblGrid>
                <a:gridCol w="3436295">
                  <a:extLst>
                    <a:ext uri="{9D8B030D-6E8A-4147-A177-3AD203B41FA5}">
                      <a16:colId xmlns:a16="http://schemas.microsoft.com/office/drawing/2014/main" xmlns="" val="458338779"/>
                    </a:ext>
                  </a:extLst>
                </a:gridCol>
                <a:gridCol w="6200272">
                  <a:extLst>
                    <a:ext uri="{9D8B030D-6E8A-4147-A177-3AD203B41FA5}">
                      <a16:colId xmlns:a16="http://schemas.microsoft.com/office/drawing/2014/main" xmlns="" val="827642073"/>
                    </a:ext>
                  </a:extLst>
                </a:gridCol>
              </a:tblGrid>
              <a:tr h="1299871">
                <a:tc>
                  <a:txBody>
                    <a:bodyPr/>
                    <a:lstStyle/>
                    <a:p>
                      <a:pPr algn="l"/>
                      <a:r>
                        <a:rPr lang="en-US" sz="2400" dirty="0" err="1"/>
                        <a:t>DataFrame</a:t>
                      </a:r>
                      <a:r>
                        <a:rPr lang="en-US" sz="2400" baseline="0" dirty="0"/>
                        <a:t> code</a:t>
                      </a:r>
                      <a:endParaRPr lang="en-US" sz="2400" dirty="0"/>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df</a:t>
                      </a:r>
                      <a:r>
                        <a:rPr kumimoji="0" lang="en-US" sz="2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ge”) &gt; 30</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444717629"/>
                  </a:ext>
                </a:extLst>
              </a:tr>
              <a:tr h="1299871">
                <a:tc>
                  <a:txBody>
                    <a:bodyPr/>
                    <a:lstStyle/>
                    <a:p>
                      <a:pPr algn="l"/>
                      <a:r>
                        <a:rPr lang="en-US" sz="2400" kern="1200" dirty="0">
                          <a:solidFill>
                            <a:schemeClr val="dk1"/>
                          </a:solidFill>
                          <a:latin typeface="+mn-lt"/>
                          <a:ea typeface="+mn-ea"/>
                          <a:cs typeface="+mn-cs"/>
                        </a:rPr>
                        <a:t>Catalyst expression</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2000" kern="1200" dirty="0" err="1">
                          <a:solidFill>
                            <a:schemeClr val="dk1"/>
                          </a:solidFill>
                          <a:latin typeface="Consolas" panose="020B0609020204030204" pitchFamily="49" charset="0"/>
                          <a:ea typeface="+mn-ea"/>
                          <a:cs typeface="+mn-cs"/>
                        </a:rPr>
                        <a:t>GreaterThan</a:t>
                      </a:r>
                      <a:r>
                        <a:rPr lang="en-US" sz="2000" kern="1200" dirty="0">
                          <a:solidFill>
                            <a:schemeClr val="dk1"/>
                          </a:solidFill>
                          <a:latin typeface="Consolas" panose="020B0609020204030204" pitchFamily="49" charset="0"/>
                          <a:ea typeface="+mn-ea"/>
                          <a:cs typeface="+mn-cs"/>
                        </a:rPr>
                        <a:t>(</a:t>
                      </a:r>
                      <a:r>
                        <a:rPr lang="en-US" sz="2000" kern="1200" dirty="0" err="1">
                          <a:solidFill>
                            <a:schemeClr val="dk1"/>
                          </a:solidFill>
                          <a:latin typeface="Consolas" panose="020B0609020204030204" pitchFamily="49" charset="0"/>
                          <a:ea typeface="+mn-ea"/>
                          <a:cs typeface="+mn-cs"/>
                        </a:rPr>
                        <a:t>age,Literal</a:t>
                      </a:r>
                      <a:r>
                        <a:rPr lang="en-US" sz="2000" kern="1200" dirty="0">
                          <a:solidFill>
                            <a:schemeClr val="dk1"/>
                          </a:solidFill>
                          <a:latin typeface="Consolas" panose="020B0609020204030204" pitchFamily="49" charset="0"/>
                          <a:ea typeface="+mn-ea"/>
                          <a:cs typeface="+mn-cs"/>
                        </a:rPr>
                        <a:t>(30))</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430023122"/>
                  </a:ext>
                </a:extLst>
              </a:tr>
              <a:tr h="1299871">
                <a:tc>
                  <a:txBody>
                    <a:bodyPr/>
                    <a:lstStyle/>
                    <a:p>
                      <a:pPr algn="l"/>
                      <a:r>
                        <a:rPr lang="en-US" sz="2400" kern="1200" dirty="0">
                          <a:solidFill>
                            <a:schemeClr val="dk1"/>
                          </a:solidFill>
                          <a:latin typeface="+mn-lt"/>
                          <a:ea typeface="+mn-ea"/>
                          <a:cs typeface="+mn-cs"/>
                        </a:rPr>
                        <a:t>Generated</a:t>
                      </a:r>
                      <a:r>
                        <a:rPr lang="en-US" sz="2400" kern="1200" baseline="0" dirty="0">
                          <a:solidFill>
                            <a:schemeClr val="dk1"/>
                          </a:solidFill>
                          <a:latin typeface="+mn-lt"/>
                          <a:ea typeface="+mn-ea"/>
                          <a:cs typeface="+mn-cs"/>
                        </a:rPr>
                        <a:t> code</a:t>
                      </a:r>
                      <a:endParaRPr lang="en-US" sz="2400" kern="1200" dirty="0">
                        <a:solidFill>
                          <a:schemeClr val="dk1"/>
                        </a:solidFill>
                        <a:latin typeface="+mn-lt"/>
                        <a:ea typeface="+mn-ea"/>
                        <a:cs typeface="+mn-cs"/>
                      </a:endParaRP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2000" kern="1200" dirty="0">
                        <a:solidFill>
                          <a:schemeClr val="dk1"/>
                        </a:solidFill>
                        <a:latin typeface="Consolas" panose="020B0609020204030204" pitchFamily="49" charset="0"/>
                        <a:ea typeface="+mn-ea"/>
                        <a:cs typeface="+mn-cs"/>
                      </a:endParaRP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805225301"/>
                  </a:ext>
                </a:extLst>
              </a:tr>
            </a:tbl>
          </a:graphicData>
        </a:graphic>
      </p:graphicFrame>
      <p:pic>
        <p:nvPicPr>
          <p:cNvPr id="5" name="Picture 4"/>
          <p:cNvPicPr>
            <a:picLocks noChangeAspect="1"/>
          </p:cNvPicPr>
          <p:nvPr/>
        </p:nvPicPr>
        <p:blipFill>
          <a:blip r:embed="rId2"/>
          <a:stretch>
            <a:fillRect/>
          </a:stretch>
        </p:blipFill>
        <p:spPr>
          <a:xfrm>
            <a:off x="4676661" y="4698935"/>
            <a:ext cx="6349676" cy="883837"/>
          </a:xfrm>
          <a:prstGeom prst="rect">
            <a:avLst/>
          </a:prstGeom>
        </p:spPr>
      </p:pic>
      <p:cxnSp>
        <p:nvCxnSpPr>
          <p:cNvPr id="7" name="Straight Arrow Connector 6"/>
          <p:cNvCxnSpPr/>
          <p:nvPr/>
        </p:nvCxnSpPr>
        <p:spPr>
          <a:xfrm>
            <a:off x="5946596" y="2756681"/>
            <a:ext cx="0" cy="67231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5946596" y="4026616"/>
            <a:ext cx="0" cy="59761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6096000" y="4997744"/>
            <a:ext cx="4407422" cy="298808"/>
          </a:xfrm>
          <a:prstGeom prst="rect">
            <a:avLst/>
          </a:prstGeom>
          <a:no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sp>
        <p:nvSpPr>
          <p:cNvPr id="13" name="Rectangle 12"/>
          <p:cNvSpPr/>
          <p:nvPr/>
        </p:nvSpPr>
        <p:spPr bwMode="auto">
          <a:xfrm>
            <a:off x="7515339" y="5670062"/>
            <a:ext cx="4108614" cy="821723"/>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solidFill>
                  <a:srgbClr val="505050"/>
                </a:solidFill>
              </a:rPr>
              <a:t>JVM </a:t>
            </a:r>
            <a:r>
              <a:rPr lang="en-US" sz="1961" b="1" i="1" kern="0" dirty="0">
                <a:solidFill>
                  <a:srgbClr val="505050"/>
                </a:solidFill>
              </a:rPr>
              <a:t>intrinsic</a:t>
            </a:r>
            <a:r>
              <a:rPr lang="en-US" sz="1961" kern="0" dirty="0">
                <a:solidFill>
                  <a:srgbClr val="505050"/>
                </a:solidFill>
              </a:rPr>
              <a:t> operation,</a:t>
            </a:r>
          </a:p>
          <a:p>
            <a:pPr algn="ctr" defTabSz="914102" fontAlgn="base">
              <a:spcBef>
                <a:spcPct val="0"/>
              </a:spcBef>
              <a:spcAft>
                <a:spcPct val="0"/>
              </a:spcAft>
            </a:pPr>
            <a:r>
              <a:rPr lang="en-US" sz="1961" kern="0" dirty="0">
                <a:solidFill>
                  <a:srgbClr val="505050"/>
                </a:solidFill>
              </a:rPr>
              <a:t>will be </a:t>
            </a:r>
            <a:r>
              <a:rPr lang="en-US" sz="1961" kern="0" dirty="0" err="1">
                <a:solidFill>
                  <a:srgbClr val="505050"/>
                </a:solidFill>
              </a:rPr>
              <a:t>JITed</a:t>
            </a:r>
            <a:r>
              <a:rPr lang="en-US" sz="1961" kern="0" dirty="0">
                <a:solidFill>
                  <a:srgbClr val="505050"/>
                </a:solidFill>
              </a:rPr>
              <a:t> into pointer arithmetic</a:t>
            </a:r>
          </a:p>
        </p:txBody>
      </p:sp>
      <p:cxnSp>
        <p:nvCxnSpPr>
          <p:cNvPr id="15" name="Straight Connector 14"/>
          <p:cNvCxnSpPr/>
          <p:nvPr/>
        </p:nvCxnSpPr>
        <p:spPr>
          <a:xfrm>
            <a:off x="7291233" y="5296552"/>
            <a:ext cx="1344637" cy="373510"/>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8597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PC-DS benchmark results</a:t>
            </a:r>
          </a:p>
        </p:txBody>
      </p:sp>
      <p:pic>
        <p:nvPicPr>
          <p:cNvPr id="1026" name="Picture 2" descr="Preliminary TPC-DS Spark 2.0 vs 1.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7387" y="1212838"/>
            <a:ext cx="8070624" cy="43625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286195" y="5520658"/>
            <a:ext cx="7215031" cy="908196"/>
          </a:xfrm>
          <a:prstGeom prst="rect">
            <a:avLst/>
          </a:prstGeom>
          <a:noFill/>
        </p:spPr>
        <p:txBody>
          <a:bodyPr wrap="none" lIns="179285" tIns="143428" rIns="179285" bIns="143428" rtlCol="0">
            <a:spAutoFit/>
          </a:bodyPr>
          <a:lstStyle/>
          <a:p>
            <a:pPr marL="336145" indent="-336145" defTabSz="896386">
              <a:lnSpc>
                <a:spcPct val="90000"/>
              </a:lnSpc>
              <a:spcAft>
                <a:spcPts val="588"/>
              </a:spcAft>
              <a:buFont typeface="Arial" panose="020B0604020202020204" pitchFamily="34" charset="0"/>
              <a:buChar char="•"/>
            </a:pPr>
            <a:r>
              <a:rPr lang="en-US" sz="1961" kern="0" dirty="0">
                <a:solidFill>
                  <a:sysClr val="windowText" lastClr="000000"/>
                </a:solidFill>
              </a:rPr>
              <a:t>TPC-DS performance improvement is in the range of 3-10x</a:t>
            </a:r>
          </a:p>
          <a:p>
            <a:pPr marL="336145" indent="-336145"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rPr>
              <a:t>Databricks</a:t>
            </a:r>
            <a:r>
              <a:rPr lang="en-US" sz="1961" kern="0" dirty="0">
                <a:gradFill>
                  <a:gsLst>
                    <a:gs pos="2917">
                      <a:schemeClr val="tx1"/>
                    </a:gs>
                    <a:gs pos="30000">
                      <a:schemeClr val="tx1"/>
                    </a:gs>
                  </a:gsLst>
                  <a:lin ang="5400000" scaled="0"/>
                </a:gradFill>
              </a:rPr>
              <a:t> reported data</a:t>
            </a:r>
          </a:p>
        </p:txBody>
      </p:sp>
    </p:spTree>
    <p:extLst>
      <p:ext uri="{BB962C8B-B14F-4D97-AF65-F5344CB8AC3E}">
        <p14:creationId xmlns:p14="http://schemas.microsoft.com/office/powerpoint/2010/main" val="200895349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2139688"/>
          </a:xfrm>
        </p:spPr>
        <p:txBody>
          <a:bodyPr vert="horz" wrap="square" lIns="448212" tIns="91440" rIns="146304" bIns="91440" rtlCol="0" anchor="t" anchorCtr="0">
            <a:spAutoFit/>
          </a:bodyPr>
          <a:lstStyle/>
          <a:p>
            <a:r>
              <a:rPr lang="en-US" dirty="0"/>
              <a:t>Query Plans and Optimizations in Spark SQL</a:t>
            </a:r>
          </a:p>
        </p:txBody>
      </p:sp>
    </p:spTree>
    <p:extLst>
      <p:ext uri="{BB962C8B-B14F-4D97-AF65-F5344CB8AC3E}">
        <p14:creationId xmlns:p14="http://schemas.microsoft.com/office/powerpoint/2010/main" val="1912844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The Art of Being Lazy</a:t>
            </a:r>
          </a:p>
        </p:txBody>
      </p:sp>
      <p:sp>
        <p:nvSpPr>
          <p:cNvPr id="4" name="TextBox 3"/>
          <p:cNvSpPr txBox="1"/>
          <p:nvPr/>
        </p:nvSpPr>
        <p:spPr>
          <a:xfrm>
            <a:off x="1" y="1214636"/>
            <a:ext cx="11117410" cy="490647"/>
          </a:xfrm>
          <a:prstGeom prst="rect">
            <a:avLst/>
          </a:prstGeom>
          <a:noFill/>
          <a:ln>
            <a:noFill/>
          </a:ln>
        </p:spPr>
        <p:txBody>
          <a:bodyPr wrap="square" lIns="35857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defTabSz="895769">
              <a:spcBef>
                <a:spcPts val="588"/>
              </a:spcBef>
              <a:spcAft>
                <a:spcPts val="588"/>
              </a:spcAft>
              <a:tabLst>
                <a:tab pos="632806" algn="l"/>
              </a:tabLst>
            </a:pPr>
            <a:r>
              <a:rPr lang="en-US" sz="2353" kern="0" dirty="0">
                <a:solidFill>
                  <a:srgbClr val="CB3B1D"/>
                </a:solidFill>
                <a:latin typeface="+mj-lt"/>
              </a:rPr>
              <a:t>Just as with RDDs, </a:t>
            </a:r>
            <a:r>
              <a:rPr lang="en-US" sz="2353" kern="0" dirty="0" err="1">
                <a:solidFill>
                  <a:srgbClr val="CB3B1D"/>
                </a:solidFill>
                <a:latin typeface="+mj-lt"/>
              </a:rPr>
              <a:t>DataFrames</a:t>
            </a:r>
            <a:r>
              <a:rPr lang="en-US" sz="2353" kern="0" dirty="0">
                <a:solidFill>
                  <a:srgbClr val="CB3B1D"/>
                </a:solidFill>
                <a:latin typeface="+mj-lt"/>
              </a:rPr>
              <a:t> are evaluated lazily</a:t>
            </a:r>
            <a:r>
              <a:rPr lang="en-US" sz="2000" kern="0" dirty="0">
                <a:solidFill>
                  <a:srgbClr val="CB3B1D"/>
                </a:solidFill>
                <a:latin typeface="+mj-lt"/>
              </a:rPr>
              <a:t>.</a:t>
            </a:r>
          </a:p>
        </p:txBody>
      </p:sp>
      <p:sp>
        <p:nvSpPr>
          <p:cNvPr id="3" name="TextBox 2"/>
          <p:cNvSpPr txBox="1"/>
          <p:nvPr/>
        </p:nvSpPr>
        <p:spPr>
          <a:xfrm>
            <a:off x="721342" y="1926400"/>
            <a:ext cx="8964248" cy="3221527"/>
          </a:xfrm>
          <a:prstGeom prst="rect">
            <a:avLst/>
          </a:prstGeom>
          <a:noFill/>
        </p:spPr>
        <p:txBody>
          <a:bodyPr wrap="square" lIns="179285" tIns="143428" rIns="179285" bIns="143428" rtlCol="0">
            <a:noAutofit/>
          </a:bodyPr>
          <a:lstStyle/>
          <a:p>
            <a:pPr marL="336145" indent="-336145" defTabSz="896386">
              <a:lnSpc>
                <a:spcPct val="90000"/>
              </a:lnSpc>
              <a:spcAft>
                <a:spcPts val="588"/>
              </a:spcAft>
              <a:buFont typeface="Arial" panose="020B0604020202020204" pitchFamily="34" charset="0"/>
              <a:buChar char="•"/>
            </a:pPr>
            <a:r>
              <a:rPr lang="en-US" sz="2353" i="1" kern="0" dirty="0">
                <a:gradFill>
                  <a:gsLst>
                    <a:gs pos="2917">
                      <a:schemeClr val="tx1"/>
                    </a:gs>
                    <a:gs pos="30000">
                      <a:schemeClr val="tx1"/>
                    </a:gs>
                  </a:gsLst>
                  <a:lin ang="5400000" scaled="0"/>
                </a:gradFill>
                <a:latin typeface="+mj-lt"/>
              </a:rPr>
              <a:t>Transformations</a:t>
            </a:r>
            <a:r>
              <a:rPr lang="en-US" sz="2353" kern="0" dirty="0">
                <a:gradFill>
                  <a:gsLst>
                    <a:gs pos="2917">
                      <a:schemeClr val="tx1"/>
                    </a:gs>
                    <a:gs pos="30000">
                      <a:schemeClr val="tx1"/>
                    </a:gs>
                  </a:gsLst>
                  <a:lin ang="5400000" scaled="0"/>
                </a:gradFill>
                <a:latin typeface="+mj-lt"/>
              </a:rPr>
              <a:t> contribute the query plan, but are not executed upon invocation.</a:t>
            </a:r>
          </a:p>
          <a:p>
            <a:pPr marL="336145" indent="-336145" defTabSz="896386">
              <a:lnSpc>
                <a:spcPct val="90000"/>
              </a:lnSpc>
              <a:spcAft>
                <a:spcPts val="588"/>
              </a:spcAft>
              <a:buFont typeface="Arial" panose="020B0604020202020204" pitchFamily="34" charset="0"/>
              <a:buChar char="•"/>
            </a:pPr>
            <a:r>
              <a:rPr lang="en-US" sz="2353" i="1" kern="0" dirty="0">
                <a:gradFill>
                  <a:gsLst>
                    <a:gs pos="2917">
                      <a:schemeClr val="tx1"/>
                    </a:gs>
                    <a:gs pos="30000">
                      <a:schemeClr val="tx1"/>
                    </a:gs>
                  </a:gsLst>
                  <a:lin ang="5400000" scaled="0"/>
                </a:gradFill>
                <a:latin typeface="+mj-lt"/>
              </a:rPr>
              <a:t>Actions</a:t>
            </a:r>
            <a:r>
              <a:rPr lang="en-US" sz="2353" kern="0" dirty="0">
                <a:gradFill>
                  <a:gsLst>
                    <a:gs pos="2917">
                      <a:schemeClr val="tx1"/>
                    </a:gs>
                    <a:gs pos="30000">
                      <a:schemeClr val="tx1"/>
                    </a:gs>
                  </a:gsLst>
                  <a:lin ang="5400000" scaled="0"/>
                </a:gradFill>
                <a:latin typeface="+mj-lt"/>
              </a:rPr>
              <a:t> cause the execution of a query</a:t>
            </a:r>
          </a:p>
        </p:txBody>
      </p:sp>
      <p:sp>
        <p:nvSpPr>
          <p:cNvPr id="5" name="TextBox 4"/>
          <p:cNvSpPr txBox="1"/>
          <p:nvPr/>
        </p:nvSpPr>
        <p:spPr>
          <a:xfrm>
            <a:off x="875416" y="3429001"/>
            <a:ext cx="3683745" cy="2185035"/>
          </a:xfrm>
          <a:prstGeom prst="rect">
            <a:avLst/>
          </a:prstGeom>
          <a:noFill/>
        </p:spPr>
        <p:txBody>
          <a:bodyPr wrap="square" lIns="179285" tIns="143428" rIns="179285" bIns="143428" rtlCol="0">
            <a:noAutofit/>
          </a:bodyPr>
          <a:lstStyle/>
          <a:p>
            <a:pPr defTabSz="896386">
              <a:lnSpc>
                <a:spcPct val="90000"/>
              </a:lnSpc>
              <a:spcAft>
                <a:spcPts val="588"/>
              </a:spcAft>
            </a:pPr>
            <a:r>
              <a:rPr lang="en-US" sz="1961" b="1" kern="0" dirty="0">
                <a:gradFill>
                  <a:gsLst>
                    <a:gs pos="2917">
                      <a:schemeClr val="tx1"/>
                    </a:gs>
                    <a:gs pos="30000">
                      <a:schemeClr val="tx1"/>
                    </a:gs>
                  </a:gsLst>
                  <a:lin ang="5400000" scaled="0"/>
                </a:gradFill>
                <a:latin typeface="+mj-lt"/>
              </a:rPr>
              <a:t>Transformations</a:t>
            </a:r>
            <a:r>
              <a:rPr lang="en-US" sz="1961" kern="0" dirty="0">
                <a:gradFill>
                  <a:gsLst>
                    <a:gs pos="2917">
                      <a:schemeClr val="tx1"/>
                    </a:gs>
                    <a:gs pos="30000">
                      <a:schemeClr val="tx1"/>
                    </a:gs>
                  </a:gsLst>
                  <a:lin ang="5400000" scaled="0"/>
                </a:gradFill>
                <a:latin typeface="+mj-lt"/>
              </a:rPr>
              <a: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selec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filter</a:t>
            </a:r>
          </a:p>
          <a:p>
            <a:pPr marL="280121" indent="-280121"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latin typeface="+mj-lt"/>
              </a:rPr>
              <a:t>groupBy</a:t>
            </a:r>
            <a:endParaRPr lang="en-US" sz="1961" kern="0" dirty="0">
              <a:gradFill>
                <a:gsLst>
                  <a:gs pos="2917">
                    <a:schemeClr val="tx1"/>
                  </a:gs>
                  <a:gs pos="30000">
                    <a:schemeClr val="tx1"/>
                  </a:gs>
                </a:gsLst>
                <a:lin ang="5400000" scaled="0"/>
              </a:gradFill>
              <a:latin typeface="+mj-lt"/>
            </a:endParaRP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intersect </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join</a:t>
            </a:r>
          </a:p>
        </p:txBody>
      </p:sp>
      <p:sp>
        <p:nvSpPr>
          <p:cNvPr id="8" name="TextBox 7"/>
          <p:cNvSpPr txBox="1"/>
          <p:nvPr/>
        </p:nvSpPr>
        <p:spPr>
          <a:xfrm>
            <a:off x="6788552" y="3429001"/>
            <a:ext cx="3683745" cy="2185035"/>
          </a:xfrm>
          <a:prstGeom prst="rect">
            <a:avLst/>
          </a:prstGeom>
          <a:noFill/>
        </p:spPr>
        <p:txBody>
          <a:bodyPr wrap="square" lIns="179285" tIns="143428" rIns="179285" bIns="143428" rtlCol="0">
            <a:noAutofit/>
          </a:bodyPr>
          <a:lstStyle/>
          <a:p>
            <a:pPr defTabSz="896386">
              <a:lnSpc>
                <a:spcPct val="90000"/>
              </a:lnSpc>
              <a:spcAft>
                <a:spcPts val="588"/>
              </a:spcAft>
            </a:pPr>
            <a:r>
              <a:rPr lang="en-US" sz="1961" b="1" kern="0" dirty="0">
                <a:gradFill>
                  <a:gsLst>
                    <a:gs pos="2917">
                      <a:schemeClr val="tx1"/>
                    </a:gs>
                    <a:gs pos="30000">
                      <a:schemeClr val="tx1"/>
                    </a:gs>
                  </a:gsLst>
                  <a:lin ang="5400000" scaled="0"/>
                </a:gradFill>
                <a:latin typeface="+mj-lt"/>
              </a:rPr>
              <a:t>Actions</a:t>
            </a:r>
            <a:r>
              <a:rPr lang="en-US" sz="1961" kern="0" dirty="0">
                <a:gradFill>
                  <a:gsLst>
                    <a:gs pos="2917">
                      <a:schemeClr val="tx1"/>
                    </a:gs>
                    <a:gs pos="30000">
                      <a:schemeClr val="tx1"/>
                    </a:gs>
                  </a:gsLst>
                  <a:lin ang="5400000" scaled="0"/>
                </a:gradFill>
                <a:latin typeface="+mj-lt"/>
              </a:rPr>
              <a: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coun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collec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head</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take </a:t>
            </a:r>
          </a:p>
        </p:txBody>
      </p:sp>
    </p:spTree>
    <p:extLst>
      <p:ext uri="{BB962C8B-B14F-4D97-AF65-F5344CB8AC3E}">
        <p14:creationId xmlns:p14="http://schemas.microsoft.com/office/powerpoint/2010/main" val="6596988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ransformations, Actions, Laziness</a:t>
            </a:r>
          </a:p>
        </p:txBody>
      </p:sp>
      <p:sp>
        <p:nvSpPr>
          <p:cNvPr id="3" name="Content Placeholder 2"/>
          <p:cNvSpPr>
            <a:spLocks noGrp="1"/>
          </p:cNvSpPr>
          <p:nvPr>
            <p:ph idx="1"/>
          </p:nvPr>
        </p:nvSpPr>
        <p:spPr>
          <a:xfrm>
            <a:off x="812049" y="1583943"/>
            <a:ext cx="10469785" cy="4214299"/>
          </a:xfrm>
        </p:spPr>
        <p:txBody>
          <a:bodyPr>
            <a:noAutofit/>
          </a:bodyPr>
          <a:lstStyle/>
          <a:p>
            <a:pPr marL="0" indent="0" algn="ctr">
              <a:buNone/>
            </a:pPr>
            <a:r>
              <a:rPr lang="en-US" sz="3200" b="1" i="1" dirty="0">
                <a:solidFill>
                  <a:srgbClr val="FF0000"/>
                </a:solidFill>
                <a:ea typeface="Source Sans Pro Light" charset="0"/>
                <a:cs typeface="Source Sans Pro Light" charset="0"/>
              </a:rPr>
              <a:t>Actions </a:t>
            </a:r>
            <a:r>
              <a:rPr lang="en-US" sz="3200" b="1" dirty="0">
                <a:solidFill>
                  <a:srgbClr val="FF0000"/>
                </a:solidFill>
                <a:ea typeface="Source Sans Pro Light" charset="0"/>
                <a:cs typeface="Source Sans Pro Light" charset="0"/>
              </a:rPr>
              <a:t>cause the execution of the query.</a:t>
            </a:r>
            <a:endParaRPr lang="en-US" sz="3200" b="1" dirty="0">
              <a:ea typeface="Source Sans Pro Light" charset="0"/>
              <a:cs typeface="Source Sans Pro Light" charset="0"/>
            </a:endParaRPr>
          </a:p>
          <a:p>
            <a:endParaRPr lang="en-US" sz="3200" b="1" dirty="0">
              <a:solidFill>
                <a:srgbClr val="FF0000"/>
              </a:solidFill>
              <a:ea typeface="Source Sans Pro Light" charset="0"/>
              <a:cs typeface="Source Sans Pro Light" charset="0"/>
            </a:endParaRPr>
          </a:p>
          <a:p>
            <a:pPr marL="0" indent="0">
              <a:buNone/>
            </a:pPr>
            <a:r>
              <a:rPr lang="en-US" sz="3200" dirty="0">
                <a:ea typeface="Source Sans Pro Light" charset="0"/>
                <a:cs typeface="Source Sans Pro Light" charset="0"/>
              </a:rPr>
              <a:t>What, exactly, does “execution of the query” mean? It means:</a:t>
            </a:r>
          </a:p>
          <a:p>
            <a:pPr marL="457189" indent="-457189">
              <a:buFont typeface="Arial" charset="0"/>
              <a:buChar char="•"/>
            </a:pPr>
            <a:r>
              <a:rPr lang="en-US" sz="3200" dirty="0"/>
              <a:t>Spark initiates a distributed read of the data source</a:t>
            </a:r>
          </a:p>
          <a:p>
            <a:pPr marL="457189" indent="-457189">
              <a:buFont typeface="Arial" charset="0"/>
              <a:buChar char="•"/>
            </a:pPr>
            <a:r>
              <a:rPr lang="en-US" sz="3200" dirty="0"/>
              <a:t>The data flows through the transformations (the RDDs resulting from the Catalyst query plan)</a:t>
            </a:r>
          </a:p>
          <a:p>
            <a:pPr marL="457189" indent="-457189">
              <a:buFont typeface="Arial" charset="0"/>
              <a:buChar char="•"/>
            </a:pPr>
            <a:r>
              <a:rPr lang="en-US" sz="3200" dirty="0"/>
              <a:t>The result of the action is pulled back into the driver JVM.</a:t>
            </a:r>
          </a:p>
        </p:txBody>
      </p:sp>
    </p:spTree>
    <p:extLst>
      <p:ext uri="{BB962C8B-B14F-4D97-AF65-F5344CB8AC3E}">
        <p14:creationId xmlns:p14="http://schemas.microsoft.com/office/powerpoint/2010/main" val="243386227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5400" dirty="0"/>
              <a:t>Catalyst Query Optimizer</a:t>
            </a:r>
            <a:endParaRPr lang="en-US" dirty="0"/>
          </a:p>
        </p:txBody>
      </p:sp>
      <p:sp>
        <p:nvSpPr>
          <p:cNvPr id="3" name="Content Placeholder 2"/>
          <p:cNvSpPr>
            <a:spLocks noGrp="1"/>
          </p:cNvSpPr>
          <p:nvPr>
            <p:ph idx="1"/>
          </p:nvPr>
        </p:nvSpPr>
        <p:spPr>
          <a:xfrm>
            <a:off x="812049" y="1583943"/>
            <a:ext cx="10469785" cy="4214299"/>
          </a:xfrm>
        </p:spPr>
        <p:txBody>
          <a:bodyPr>
            <a:noAutofit/>
          </a:bodyPr>
          <a:lstStyle/>
          <a:p>
            <a:pPr marL="457189" indent="-457189">
              <a:buFont typeface="Arial" charset="0"/>
              <a:buChar char="•"/>
            </a:pPr>
            <a:r>
              <a:rPr lang="en-US" sz="3200" dirty="0"/>
              <a:t>Since </a:t>
            </a:r>
            <a:r>
              <a:rPr lang="en-US" sz="3200" dirty="0" err="1"/>
              <a:t>DataFrames</a:t>
            </a:r>
            <a:r>
              <a:rPr lang="en-US" sz="3200" dirty="0"/>
              <a:t> are evaluated lazily, the full DAG is available to compute and optimize</a:t>
            </a:r>
          </a:p>
          <a:p>
            <a:pPr marL="0" indent="0">
              <a:buNone/>
            </a:pPr>
            <a:endParaRPr lang="en-US" sz="3200" dirty="0"/>
          </a:p>
        </p:txBody>
      </p:sp>
      <p:sp>
        <p:nvSpPr>
          <p:cNvPr id="30" name="Rounded Rectangle 29"/>
          <p:cNvSpPr/>
          <p:nvPr/>
        </p:nvSpPr>
        <p:spPr>
          <a:xfrm>
            <a:off x="6689629" y="4506394"/>
            <a:ext cx="1014675" cy="612005"/>
          </a:xfrm>
          <a:prstGeom prst="roundRect">
            <a:avLst/>
          </a:prstGeom>
          <a:solidFill>
            <a:schemeClr val="accent1">
              <a:lumMod val="60000"/>
              <a:lumOff val="4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US" sz="1300" dirty="0">
              <a:latin typeface="Source Sans Pro Light"/>
              <a:cs typeface="Source Sans Pro"/>
            </a:endParaRPr>
          </a:p>
        </p:txBody>
      </p:sp>
      <p:sp>
        <p:nvSpPr>
          <p:cNvPr id="31" name="Rounded Rectangle 30"/>
          <p:cNvSpPr/>
          <p:nvPr/>
        </p:nvSpPr>
        <p:spPr>
          <a:xfrm>
            <a:off x="6746081" y="4554871"/>
            <a:ext cx="1014675" cy="612005"/>
          </a:xfrm>
          <a:prstGeom prst="roundRect">
            <a:avLst/>
          </a:prstGeom>
          <a:solidFill>
            <a:schemeClr val="accent1">
              <a:lumMod val="40000"/>
              <a:lumOff val="6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US" sz="1300" dirty="0">
              <a:latin typeface="Source Sans Pro Light"/>
              <a:cs typeface="Source Sans Pro"/>
            </a:endParaRPr>
          </a:p>
        </p:txBody>
      </p:sp>
      <p:sp>
        <p:nvSpPr>
          <p:cNvPr id="32" name="Rectangle 31"/>
          <p:cNvSpPr/>
          <p:nvPr/>
        </p:nvSpPr>
        <p:spPr>
          <a:xfrm>
            <a:off x="1666002" y="4209811"/>
            <a:ext cx="960095" cy="551157"/>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SQL AST</a:t>
            </a:r>
          </a:p>
        </p:txBody>
      </p:sp>
      <p:sp>
        <p:nvSpPr>
          <p:cNvPr id="33" name="Rectangle 32"/>
          <p:cNvSpPr/>
          <p:nvPr/>
        </p:nvSpPr>
        <p:spPr>
          <a:xfrm>
            <a:off x="1666002" y="4933425"/>
            <a:ext cx="960095" cy="551157"/>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DataFrame</a:t>
            </a:r>
          </a:p>
        </p:txBody>
      </p:sp>
      <p:sp>
        <p:nvSpPr>
          <p:cNvPr id="34" name="Rounded Rectangle 33"/>
          <p:cNvSpPr/>
          <p:nvPr/>
        </p:nvSpPr>
        <p:spPr>
          <a:xfrm>
            <a:off x="2961426" y="454851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Unresolved Logical Plan</a:t>
            </a:r>
          </a:p>
        </p:txBody>
      </p:sp>
      <p:sp>
        <p:nvSpPr>
          <p:cNvPr id="35" name="Rounded Rectangle 34"/>
          <p:cNvSpPr/>
          <p:nvPr/>
        </p:nvSpPr>
        <p:spPr>
          <a:xfrm>
            <a:off x="4229961" y="454851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Logical Plan</a:t>
            </a:r>
          </a:p>
        </p:txBody>
      </p:sp>
      <p:sp>
        <p:nvSpPr>
          <p:cNvPr id="36" name="Rounded Rectangle 35"/>
          <p:cNvSpPr/>
          <p:nvPr/>
        </p:nvSpPr>
        <p:spPr>
          <a:xfrm>
            <a:off x="5498496" y="454851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Optimized Logical Plan</a:t>
            </a:r>
          </a:p>
        </p:txBody>
      </p:sp>
      <p:sp>
        <p:nvSpPr>
          <p:cNvPr id="37" name="Rectangle 36"/>
          <p:cNvSpPr/>
          <p:nvPr/>
        </p:nvSpPr>
        <p:spPr>
          <a:xfrm>
            <a:off x="9829938" y="4584597"/>
            <a:ext cx="713489" cy="551157"/>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RDDs</a:t>
            </a:r>
          </a:p>
        </p:txBody>
      </p:sp>
      <p:sp>
        <p:nvSpPr>
          <p:cNvPr id="38" name="Rounded Rectangle 37"/>
          <p:cNvSpPr/>
          <p:nvPr/>
        </p:nvSpPr>
        <p:spPr>
          <a:xfrm>
            <a:off x="8541697" y="4554173"/>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Selected Physical Plan</a:t>
            </a:r>
          </a:p>
        </p:txBody>
      </p:sp>
      <p:cxnSp>
        <p:nvCxnSpPr>
          <p:cNvPr id="39" name="Straight Arrow Connector 38"/>
          <p:cNvCxnSpPr>
            <a:stCxn id="32" idx="3"/>
            <a:endCxn id="34" idx="1"/>
          </p:cNvCxnSpPr>
          <p:nvPr/>
        </p:nvCxnSpPr>
        <p:spPr>
          <a:xfrm>
            <a:off x="2626093" y="4485391"/>
            <a:ext cx="335331" cy="369131"/>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0" name="Straight Arrow Connector 39"/>
          <p:cNvCxnSpPr>
            <a:stCxn id="33" idx="3"/>
            <a:endCxn id="34" idx="1"/>
          </p:cNvCxnSpPr>
          <p:nvPr/>
        </p:nvCxnSpPr>
        <p:spPr>
          <a:xfrm flipV="1">
            <a:off x="2626093" y="4854520"/>
            <a:ext cx="335331" cy="354483"/>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1" name="Straight Arrow Connector 40"/>
          <p:cNvCxnSpPr>
            <a:stCxn id="34" idx="3"/>
            <a:endCxn id="35" idx="1"/>
          </p:cNvCxnSpPr>
          <p:nvPr/>
        </p:nvCxnSpPr>
        <p:spPr>
          <a:xfrm>
            <a:off x="3976103" y="4854520"/>
            <a:ext cx="253859" cy="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2" name="Straight Arrow Connector 41"/>
          <p:cNvCxnSpPr>
            <a:stCxn id="35" idx="3"/>
            <a:endCxn id="36" idx="1"/>
          </p:cNvCxnSpPr>
          <p:nvPr/>
        </p:nvCxnSpPr>
        <p:spPr>
          <a:xfrm>
            <a:off x="5244637" y="4854522"/>
            <a:ext cx="253859" cy="1"/>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a:stCxn id="31" idx="3"/>
            <a:endCxn id="38" idx="1"/>
          </p:cNvCxnSpPr>
          <p:nvPr/>
        </p:nvCxnSpPr>
        <p:spPr>
          <a:xfrm flipV="1">
            <a:off x="7760754" y="4860174"/>
            <a:ext cx="780943" cy="699"/>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4" name="Straight Arrow Connector 43"/>
          <p:cNvCxnSpPr>
            <a:stCxn id="38" idx="3"/>
            <a:endCxn id="37" idx="1"/>
          </p:cNvCxnSpPr>
          <p:nvPr/>
        </p:nvCxnSpPr>
        <p:spPr>
          <a:xfrm>
            <a:off x="9556372" y="4860174"/>
            <a:ext cx="273565" cy="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5" name="TextBox 44"/>
          <p:cNvSpPr txBox="1"/>
          <p:nvPr/>
        </p:nvSpPr>
        <p:spPr>
          <a:xfrm>
            <a:off x="3630566" y="3974125"/>
            <a:ext cx="917345" cy="369332"/>
          </a:xfrm>
          <a:prstGeom prst="rect">
            <a:avLst/>
          </a:prstGeom>
          <a:noFill/>
        </p:spPr>
        <p:txBody>
          <a:bodyPr wrap="none" lIns="121917" tIns="60958" rIns="121917" bIns="60958" rtlCol="0">
            <a:spAutoFit/>
          </a:bodyPr>
          <a:lstStyle/>
          <a:p>
            <a:pPr algn="ctr"/>
            <a:r>
              <a:rPr lang="en-US" sz="1600" dirty="0">
                <a:latin typeface="Source Sans Pro Light"/>
                <a:cs typeface="Source Sans Pro"/>
              </a:rPr>
              <a:t>Analysis</a:t>
            </a:r>
          </a:p>
        </p:txBody>
      </p:sp>
      <p:sp>
        <p:nvSpPr>
          <p:cNvPr id="46" name="TextBox 45"/>
          <p:cNvSpPr txBox="1"/>
          <p:nvPr/>
        </p:nvSpPr>
        <p:spPr>
          <a:xfrm>
            <a:off x="4614781" y="3851013"/>
            <a:ext cx="1331988" cy="615553"/>
          </a:xfrm>
          <a:prstGeom prst="rect">
            <a:avLst/>
          </a:prstGeom>
          <a:noFill/>
        </p:spPr>
        <p:txBody>
          <a:bodyPr wrap="none" lIns="121917" tIns="60958" rIns="121917" bIns="60958" rtlCol="0">
            <a:spAutoFit/>
          </a:bodyPr>
          <a:lstStyle/>
          <a:p>
            <a:pPr algn="ctr"/>
            <a:r>
              <a:rPr lang="en-US" sz="1600" dirty="0">
                <a:latin typeface="Source Sans Pro Light"/>
                <a:cs typeface="Source Sans Pro"/>
              </a:rPr>
              <a:t>Logical</a:t>
            </a:r>
          </a:p>
          <a:p>
            <a:pPr algn="ctr"/>
            <a:r>
              <a:rPr lang="en-US" sz="1600" dirty="0">
                <a:latin typeface="Source Sans Pro Light"/>
                <a:cs typeface="Source Sans Pro"/>
              </a:rPr>
              <a:t>Optimization</a:t>
            </a:r>
          </a:p>
        </p:txBody>
      </p:sp>
      <p:sp>
        <p:nvSpPr>
          <p:cNvPr id="47" name="TextBox 46"/>
          <p:cNvSpPr txBox="1"/>
          <p:nvPr/>
        </p:nvSpPr>
        <p:spPr>
          <a:xfrm>
            <a:off x="6044149" y="3851013"/>
            <a:ext cx="1002833" cy="615549"/>
          </a:xfrm>
          <a:prstGeom prst="rect">
            <a:avLst/>
          </a:prstGeom>
          <a:noFill/>
        </p:spPr>
        <p:txBody>
          <a:bodyPr wrap="none" lIns="121917" tIns="60958" rIns="121917" bIns="60958" rtlCol="0">
            <a:spAutoFit/>
          </a:bodyPr>
          <a:lstStyle/>
          <a:p>
            <a:pPr algn="ctr"/>
            <a:r>
              <a:rPr lang="en-US" sz="1600" dirty="0">
                <a:latin typeface="Source Sans Pro Light"/>
                <a:cs typeface="Source Sans Pro"/>
              </a:rPr>
              <a:t>Physical</a:t>
            </a:r>
          </a:p>
          <a:p>
            <a:pPr algn="ctr"/>
            <a:r>
              <a:rPr lang="en-US" sz="1600" dirty="0">
                <a:latin typeface="Source Sans Pro Light"/>
                <a:cs typeface="Source Sans Pro"/>
              </a:rPr>
              <a:t>Planning</a:t>
            </a:r>
          </a:p>
        </p:txBody>
      </p:sp>
      <p:cxnSp>
        <p:nvCxnSpPr>
          <p:cNvPr id="48" name="Straight Arrow Connector 47"/>
          <p:cNvCxnSpPr>
            <a:stCxn id="31" idx="3"/>
          </p:cNvCxnSpPr>
          <p:nvPr/>
        </p:nvCxnSpPr>
        <p:spPr>
          <a:xfrm>
            <a:off x="7760753" y="4860874"/>
            <a:ext cx="549619" cy="618077"/>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9" name="Straight Arrow Connector 48"/>
          <p:cNvCxnSpPr>
            <a:stCxn id="31" idx="3"/>
          </p:cNvCxnSpPr>
          <p:nvPr/>
        </p:nvCxnSpPr>
        <p:spPr>
          <a:xfrm flipV="1">
            <a:off x="7760755" y="4228145"/>
            <a:ext cx="549620" cy="632729"/>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0" name="Rectangle 49"/>
          <p:cNvSpPr/>
          <p:nvPr/>
        </p:nvSpPr>
        <p:spPr>
          <a:xfrm rot="16200000">
            <a:off x="7591508" y="4705382"/>
            <a:ext cx="1274771" cy="283624"/>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Cost Model</a:t>
            </a:r>
          </a:p>
        </p:txBody>
      </p:sp>
      <p:sp>
        <p:nvSpPr>
          <p:cNvPr id="51" name="Rounded Rectangle 50"/>
          <p:cNvSpPr/>
          <p:nvPr/>
        </p:nvSpPr>
        <p:spPr>
          <a:xfrm>
            <a:off x="6802533" y="460334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Physical </a:t>
            </a:r>
            <a:br>
              <a:rPr lang="en-US" sz="1300" dirty="0">
                <a:latin typeface="Source Sans Pro Light"/>
                <a:cs typeface="Source Sans Pro"/>
              </a:rPr>
            </a:br>
            <a:r>
              <a:rPr lang="en-US" sz="1300" dirty="0">
                <a:latin typeface="Source Sans Pro Light"/>
                <a:cs typeface="Source Sans Pro"/>
              </a:rPr>
              <a:t>Plans</a:t>
            </a:r>
          </a:p>
        </p:txBody>
      </p:sp>
      <p:sp>
        <p:nvSpPr>
          <p:cNvPr id="52" name="TextBox 51"/>
          <p:cNvSpPr txBox="1"/>
          <p:nvPr/>
        </p:nvSpPr>
        <p:spPr>
          <a:xfrm>
            <a:off x="9159473" y="3881790"/>
            <a:ext cx="1062684" cy="553997"/>
          </a:xfrm>
          <a:prstGeom prst="rect">
            <a:avLst/>
          </a:prstGeom>
          <a:noFill/>
        </p:spPr>
        <p:txBody>
          <a:bodyPr wrap="none" lIns="121917" tIns="60958" rIns="121917" bIns="60958" rtlCol="0">
            <a:spAutoFit/>
          </a:bodyPr>
          <a:lstStyle/>
          <a:p>
            <a:pPr algn="ctr"/>
            <a:r>
              <a:rPr lang="en-US" sz="1400" dirty="0">
                <a:latin typeface="Source Sans Pro Light"/>
                <a:cs typeface="Source Sans Pro"/>
              </a:rPr>
              <a:t>Code</a:t>
            </a:r>
          </a:p>
          <a:p>
            <a:pPr algn="ctr"/>
            <a:r>
              <a:rPr lang="en-US" sz="1400" dirty="0">
                <a:latin typeface="Source Sans Pro Light"/>
                <a:cs typeface="Source Sans Pro"/>
              </a:rPr>
              <a:t>Generation</a:t>
            </a:r>
          </a:p>
        </p:txBody>
      </p:sp>
      <p:sp>
        <p:nvSpPr>
          <p:cNvPr id="53" name="Rectangle 52"/>
          <p:cNvSpPr/>
          <p:nvPr/>
        </p:nvSpPr>
        <p:spPr>
          <a:xfrm>
            <a:off x="3609191" y="5356692"/>
            <a:ext cx="960095" cy="362809"/>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Catalog</a:t>
            </a:r>
          </a:p>
        </p:txBody>
      </p:sp>
      <p:cxnSp>
        <p:nvCxnSpPr>
          <p:cNvPr id="54" name="Straight Arrow Connector 53"/>
          <p:cNvCxnSpPr>
            <a:stCxn id="53" idx="0"/>
          </p:cNvCxnSpPr>
          <p:nvPr/>
        </p:nvCxnSpPr>
        <p:spPr>
          <a:xfrm flipV="1">
            <a:off x="4089237" y="4872692"/>
            <a:ext cx="0" cy="483999"/>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6512739" y="4863306"/>
            <a:ext cx="256363" cy="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6154712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Logical Plan Optimization and Physical Execution</a:t>
            </a:r>
          </a:p>
        </p:txBody>
      </p:sp>
      <p:sp>
        <p:nvSpPr>
          <p:cNvPr id="56" name="Rectangle 55"/>
          <p:cNvSpPr/>
          <p:nvPr/>
        </p:nvSpPr>
        <p:spPr>
          <a:xfrm>
            <a:off x="2427595" y="1505538"/>
            <a:ext cx="9445090" cy="707882"/>
          </a:xfrm>
          <a:prstGeom prst="rect">
            <a:avLst/>
          </a:prstGeom>
        </p:spPr>
        <p:txBody>
          <a:bodyPr wrap="square" lIns="121917" tIns="60958" rIns="121917" bIns="60958">
            <a:spAutoFit/>
          </a:bodyPr>
          <a:lstStyle/>
          <a:p>
            <a:r>
              <a:rPr lang="da-DK" dirty="0">
                <a:latin typeface="Consolas"/>
                <a:cs typeface="Consolas"/>
              </a:rPr>
              <a:t>joined = users.join(events, users.id == events.uid)</a:t>
            </a:r>
          </a:p>
          <a:p>
            <a:r>
              <a:rPr lang="da-DK" dirty="0">
                <a:latin typeface="Consolas"/>
                <a:cs typeface="Consolas"/>
              </a:rPr>
              <a:t>filtered = joined.filter(events.date &gt;= </a:t>
            </a:r>
            <a:r>
              <a:rPr lang="nl-NL" dirty="0">
                <a:latin typeface="Consolas"/>
                <a:ea typeface="Consolas" charset="0"/>
                <a:cs typeface="Consolas"/>
              </a:rPr>
              <a:t>"</a:t>
            </a:r>
            <a:r>
              <a:rPr lang="da-DK" dirty="0">
                <a:latin typeface="Consolas"/>
                <a:cs typeface="Consolas"/>
              </a:rPr>
              <a:t>2015-01-01</a:t>
            </a:r>
            <a:r>
              <a:rPr lang="nl-NL" dirty="0">
                <a:latin typeface="Consolas"/>
                <a:ea typeface="Consolas" charset="0"/>
                <a:cs typeface="Consolas"/>
              </a:rPr>
              <a:t>"</a:t>
            </a:r>
            <a:r>
              <a:rPr lang="da-DK" dirty="0">
                <a:latin typeface="Consolas"/>
                <a:cs typeface="Consolas"/>
              </a:rPr>
              <a:t>)</a:t>
            </a:r>
          </a:p>
        </p:txBody>
      </p:sp>
      <p:grpSp>
        <p:nvGrpSpPr>
          <p:cNvPr id="57" name="Group 56"/>
          <p:cNvGrpSpPr/>
          <p:nvPr/>
        </p:nvGrpSpPr>
        <p:grpSpPr>
          <a:xfrm>
            <a:off x="4195693" y="2403453"/>
            <a:ext cx="2998795" cy="4047243"/>
            <a:chOff x="319998" y="1169703"/>
            <a:chExt cx="2559152" cy="3637906"/>
          </a:xfrm>
        </p:grpSpPr>
        <p:sp>
          <p:nvSpPr>
            <p:cNvPr id="58" name="TextBox 57"/>
            <p:cNvSpPr txBox="1"/>
            <p:nvPr/>
          </p:nvSpPr>
          <p:spPr>
            <a:xfrm>
              <a:off x="778612" y="1169703"/>
              <a:ext cx="1504496" cy="331978"/>
            </a:xfrm>
            <a:prstGeom prst="rect">
              <a:avLst/>
            </a:prstGeom>
            <a:noFill/>
          </p:spPr>
          <p:txBody>
            <a:bodyPr wrap="square" rtlCol="0">
              <a:spAutoFit/>
            </a:bodyPr>
            <a:lstStyle/>
            <a:p>
              <a:pPr algn="ctr"/>
              <a:r>
                <a:rPr lang="en-US" dirty="0">
                  <a:latin typeface="+mj-lt"/>
                  <a:cs typeface="Source Sans Pro Light"/>
                </a:rPr>
                <a:t>logical plan</a:t>
              </a:r>
            </a:p>
          </p:txBody>
        </p:sp>
        <p:grpSp>
          <p:nvGrpSpPr>
            <p:cNvPr id="59" name="Group 58"/>
            <p:cNvGrpSpPr/>
            <p:nvPr/>
          </p:nvGrpSpPr>
          <p:grpSpPr>
            <a:xfrm>
              <a:off x="319998" y="1767152"/>
              <a:ext cx="2559152" cy="3040457"/>
              <a:chOff x="319998" y="1767152"/>
              <a:chExt cx="2559152" cy="3040457"/>
            </a:xfrm>
          </p:grpSpPr>
          <p:sp>
            <p:nvSpPr>
              <p:cNvPr id="60" name="Rounded Rectangle 59"/>
              <p:cNvSpPr/>
              <p:nvPr/>
            </p:nvSpPr>
            <p:spPr>
              <a:xfrm>
                <a:off x="1016000" y="176715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61" name="Straight Connector 60"/>
              <p:cNvCxnSpPr/>
              <p:nvPr/>
            </p:nvCxnSpPr>
            <p:spPr>
              <a:xfrm flipV="1">
                <a:off x="920029" y="3408648"/>
                <a:ext cx="603308"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cxnSp>
            <p:nvCxnSpPr>
              <p:cNvPr id="62" name="Straight Connector 61"/>
              <p:cNvCxnSpPr/>
              <p:nvPr/>
            </p:nvCxnSpPr>
            <p:spPr>
              <a:xfrm flipV="1">
                <a:off x="1520060" y="2379157"/>
                <a:ext cx="3278" cy="41979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63" name="Rounded Rectangle 62"/>
              <p:cNvSpPr/>
              <p:nvPr/>
            </p:nvSpPr>
            <p:spPr>
              <a:xfrm>
                <a:off x="1016000" y="279664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64" name="Rounded Rectangle 63"/>
              <p:cNvSpPr/>
              <p:nvPr/>
            </p:nvSpPr>
            <p:spPr>
              <a:xfrm>
                <a:off x="319998" y="3868358"/>
                <a:ext cx="1200062" cy="939249"/>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65" name="Straight Connector 64"/>
              <p:cNvCxnSpPr/>
              <p:nvPr/>
            </p:nvCxnSpPr>
            <p:spPr>
              <a:xfrm flipH="1" flipV="1">
                <a:off x="1523338" y="3408648"/>
                <a:ext cx="771213" cy="45971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66" name="Rounded Rectangle 65"/>
              <p:cNvSpPr/>
              <p:nvPr/>
            </p:nvSpPr>
            <p:spPr>
              <a:xfrm>
                <a:off x="1709951" y="3868358"/>
                <a:ext cx="1169199" cy="939251"/>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grpSp>
      <p:sp>
        <p:nvSpPr>
          <p:cNvPr id="67" name="TextBox 66"/>
          <p:cNvSpPr txBox="1"/>
          <p:nvPr/>
        </p:nvSpPr>
        <p:spPr>
          <a:xfrm>
            <a:off x="2427595" y="4319570"/>
            <a:ext cx="2538653" cy="415494"/>
          </a:xfrm>
          <a:prstGeom prst="rect">
            <a:avLst/>
          </a:prstGeom>
          <a:noFill/>
        </p:spPr>
        <p:txBody>
          <a:bodyPr wrap="none" lIns="121917" tIns="60958" rIns="121917" bIns="60958" rtlCol="0">
            <a:spAutoFit/>
          </a:bodyPr>
          <a:lstStyle/>
          <a:p>
            <a:r>
              <a:rPr lang="en-US" dirty="0">
                <a:solidFill>
                  <a:srgbClr val="FF0000"/>
                </a:solidFill>
                <a:latin typeface="Source Sans Pro Light"/>
                <a:cs typeface="Source Sans Pro Light"/>
              </a:rPr>
              <a:t>this join is expensive </a:t>
            </a:r>
            <a:r>
              <a:rPr lang="en-US" dirty="0">
                <a:solidFill>
                  <a:srgbClr val="FF0000"/>
                </a:solidFill>
                <a:latin typeface="Source Sans Pro Light"/>
                <a:cs typeface="Source Sans Pro Light"/>
                <a:sym typeface="Wingdings"/>
              </a:rPr>
              <a:t></a:t>
            </a:r>
            <a:endParaRPr lang="en-US" dirty="0">
              <a:solidFill>
                <a:srgbClr val="FF0000"/>
              </a:solidFill>
              <a:latin typeface="Source Sans Pro Light"/>
              <a:cs typeface="Source Sans Pro Light"/>
            </a:endParaRPr>
          </a:p>
        </p:txBody>
      </p:sp>
    </p:spTree>
    <p:extLst>
      <p:ext uri="{BB962C8B-B14F-4D97-AF65-F5344CB8AC3E}">
        <p14:creationId xmlns:p14="http://schemas.microsoft.com/office/powerpoint/2010/main" val="263008920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Logical Plan Optimization and Physical Execution</a:t>
            </a:r>
          </a:p>
        </p:txBody>
      </p:sp>
      <p:sp>
        <p:nvSpPr>
          <p:cNvPr id="56" name="Rectangle 55"/>
          <p:cNvSpPr/>
          <p:nvPr/>
        </p:nvSpPr>
        <p:spPr>
          <a:xfrm>
            <a:off x="2427595" y="1505538"/>
            <a:ext cx="9445090" cy="707882"/>
          </a:xfrm>
          <a:prstGeom prst="rect">
            <a:avLst/>
          </a:prstGeom>
        </p:spPr>
        <p:txBody>
          <a:bodyPr wrap="square" lIns="121917" tIns="60958" rIns="121917" bIns="60958">
            <a:spAutoFit/>
          </a:bodyPr>
          <a:lstStyle/>
          <a:p>
            <a:r>
              <a:rPr lang="da-DK" dirty="0">
                <a:latin typeface="Consolas"/>
                <a:cs typeface="Consolas"/>
              </a:rPr>
              <a:t>joined = users.join(events, users.id == events.uid)</a:t>
            </a:r>
          </a:p>
          <a:p>
            <a:r>
              <a:rPr lang="da-DK" dirty="0">
                <a:latin typeface="Consolas"/>
                <a:cs typeface="Consolas"/>
              </a:rPr>
              <a:t>filtered = joined.filter(events.date &gt;= </a:t>
            </a:r>
            <a:r>
              <a:rPr lang="nl-NL" dirty="0">
                <a:latin typeface="Consolas"/>
                <a:ea typeface="Consolas" charset="0"/>
                <a:cs typeface="Consolas"/>
              </a:rPr>
              <a:t>"</a:t>
            </a:r>
            <a:r>
              <a:rPr lang="da-DK" dirty="0">
                <a:latin typeface="Consolas"/>
                <a:cs typeface="Consolas"/>
              </a:rPr>
              <a:t>2015-01-01</a:t>
            </a:r>
            <a:r>
              <a:rPr lang="nl-NL" dirty="0">
                <a:latin typeface="Consolas"/>
                <a:ea typeface="Consolas" charset="0"/>
                <a:cs typeface="Consolas"/>
              </a:rPr>
              <a:t>"</a:t>
            </a:r>
            <a:r>
              <a:rPr lang="da-DK" dirty="0">
                <a:latin typeface="Consolas"/>
                <a:cs typeface="Consolas"/>
              </a:rPr>
              <a:t>)</a:t>
            </a:r>
          </a:p>
        </p:txBody>
      </p:sp>
      <p:grpSp>
        <p:nvGrpSpPr>
          <p:cNvPr id="15" name="Group 14"/>
          <p:cNvGrpSpPr/>
          <p:nvPr/>
        </p:nvGrpSpPr>
        <p:grpSpPr>
          <a:xfrm>
            <a:off x="2401542" y="2482086"/>
            <a:ext cx="2923115" cy="3929784"/>
            <a:chOff x="130107" y="1160470"/>
            <a:chExt cx="2923116" cy="3929784"/>
          </a:xfrm>
        </p:grpSpPr>
        <p:sp>
          <p:nvSpPr>
            <p:cNvPr id="16" name="TextBox 15"/>
            <p:cNvSpPr txBox="1"/>
            <p:nvPr/>
          </p:nvSpPr>
          <p:spPr>
            <a:xfrm>
              <a:off x="675598" y="1160470"/>
              <a:ext cx="1282723" cy="369332"/>
            </a:xfrm>
            <a:prstGeom prst="rect">
              <a:avLst/>
            </a:prstGeom>
            <a:noFill/>
          </p:spPr>
          <p:txBody>
            <a:bodyPr wrap="none" rtlCol="0">
              <a:spAutoFit/>
            </a:bodyPr>
            <a:lstStyle/>
            <a:p>
              <a:r>
                <a:rPr lang="en-US" dirty="0">
                  <a:latin typeface="+mj-lt"/>
                  <a:cs typeface="Source Sans Pro Light"/>
                </a:rPr>
                <a:t>logical plan</a:t>
              </a:r>
            </a:p>
          </p:txBody>
        </p:sp>
        <p:grpSp>
          <p:nvGrpSpPr>
            <p:cNvPr id="17" name="Group 16"/>
            <p:cNvGrpSpPr/>
            <p:nvPr/>
          </p:nvGrpSpPr>
          <p:grpSpPr>
            <a:xfrm>
              <a:off x="130107" y="1767152"/>
              <a:ext cx="2923116" cy="3323102"/>
              <a:chOff x="130107" y="1767152"/>
              <a:chExt cx="2923116" cy="3323102"/>
            </a:xfrm>
          </p:grpSpPr>
          <p:sp>
            <p:nvSpPr>
              <p:cNvPr id="18" name="Rounded Rectangle 17"/>
              <p:cNvSpPr/>
              <p:nvPr/>
            </p:nvSpPr>
            <p:spPr>
              <a:xfrm>
                <a:off x="1016000" y="176715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19" name="Straight Connector 18"/>
              <p:cNvCxnSpPr>
                <a:stCxn id="19" idx="0"/>
                <a:endCxn id="20" idx="2"/>
              </p:cNvCxnSpPr>
              <p:nvPr/>
            </p:nvCxnSpPr>
            <p:spPr>
              <a:xfrm flipV="1">
                <a:off x="825083" y="3408648"/>
                <a:ext cx="698255" cy="457212"/>
              </a:xfrm>
              <a:prstGeom prst="line">
                <a:avLst/>
              </a:prstGeom>
              <a:ln>
                <a:tailEnd type="triangle" w="lg"/>
              </a:ln>
            </p:spPr>
            <p:style>
              <a:lnRef idx="2">
                <a:schemeClr val="dk1"/>
              </a:lnRef>
              <a:fillRef idx="0">
                <a:schemeClr val="dk1"/>
              </a:fillRef>
              <a:effectRef idx="1">
                <a:schemeClr val="dk1"/>
              </a:effectRef>
              <a:fontRef idx="minor">
                <a:schemeClr val="tx1"/>
              </a:fontRef>
            </p:style>
          </p:cxnSp>
          <p:cxnSp>
            <p:nvCxnSpPr>
              <p:cNvPr id="20" name="Straight Connector 19"/>
              <p:cNvCxnSpPr>
                <a:endCxn id="21" idx="2"/>
              </p:cNvCxnSpPr>
              <p:nvPr/>
            </p:nvCxnSpPr>
            <p:spPr>
              <a:xfrm flipV="1">
                <a:off x="1520060" y="2379157"/>
                <a:ext cx="3278" cy="41979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21" name="Rounded Rectangle 20"/>
              <p:cNvSpPr/>
              <p:nvPr/>
            </p:nvSpPr>
            <p:spPr>
              <a:xfrm>
                <a:off x="1016000" y="279664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22" name="Rounded Rectangle 21"/>
              <p:cNvSpPr/>
              <p:nvPr/>
            </p:nvSpPr>
            <p:spPr>
              <a:xfrm>
                <a:off x="130107" y="3865860"/>
                <a:ext cx="1389952" cy="1224394"/>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23" name="Straight Connector 22"/>
              <p:cNvCxnSpPr>
                <a:endCxn id="20" idx="2"/>
              </p:cNvCxnSpPr>
              <p:nvPr/>
            </p:nvCxnSpPr>
            <p:spPr>
              <a:xfrm flipH="1" flipV="1">
                <a:off x="1523337" y="3408648"/>
                <a:ext cx="8582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24" name="Rounded Rectangle 23"/>
              <p:cNvSpPr/>
              <p:nvPr/>
            </p:nvSpPr>
            <p:spPr>
              <a:xfrm>
                <a:off x="1709949" y="3868358"/>
                <a:ext cx="1343274" cy="1221896"/>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grpSp>
      <p:grpSp>
        <p:nvGrpSpPr>
          <p:cNvPr id="25" name="Group 24"/>
          <p:cNvGrpSpPr/>
          <p:nvPr/>
        </p:nvGrpSpPr>
        <p:grpSpPr>
          <a:xfrm>
            <a:off x="6447630" y="2459370"/>
            <a:ext cx="3101977" cy="3929785"/>
            <a:chOff x="3082851" y="1160197"/>
            <a:chExt cx="3101979" cy="3929785"/>
          </a:xfrm>
        </p:grpSpPr>
        <p:sp>
          <p:nvSpPr>
            <p:cNvPr id="26" name="TextBox 25"/>
            <p:cNvSpPr txBox="1"/>
            <p:nvPr/>
          </p:nvSpPr>
          <p:spPr>
            <a:xfrm>
              <a:off x="3569482" y="1160197"/>
              <a:ext cx="1630576" cy="369332"/>
            </a:xfrm>
            <a:prstGeom prst="rect">
              <a:avLst/>
            </a:prstGeom>
            <a:noFill/>
          </p:spPr>
          <p:txBody>
            <a:bodyPr wrap="none" rtlCol="0">
              <a:spAutoFit/>
            </a:bodyPr>
            <a:lstStyle/>
            <a:p>
              <a:r>
                <a:rPr lang="en-US" dirty="0">
                  <a:latin typeface="+mj-lt"/>
                  <a:cs typeface="Source Sans Pro Light"/>
                </a:rPr>
                <a:t>optimized plan</a:t>
              </a:r>
            </a:p>
          </p:txBody>
        </p:sp>
        <p:cxnSp>
          <p:nvCxnSpPr>
            <p:cNvPr id="27" name="Straight Connector 26"/>
            <p:cNvCxnSpPr/>
            <p:nvPr/>
          </p:nvCxnSpPr>
          <p:spPr>
            <a:xfrm flipV="1">
              <a:off x="3763070" y="2363636"/>
              <a:ext cx="868883"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28" name="Rounded Rectangle 27"/>
            <p:cNvSpPr/>
            <p:nvPr/>
          </p:nvSpPr>
          <p:spPr>
            <a:xfrm>
              <a:off x="4124616" y="175163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29" name="Rounded Rectangle 28"/>
            <p:cNvSpPr/>
            <p:nvPr/>
          </p:nvSpPr>
          <p:spPr>
            <a:xfrm>
              <a:off x="3082851" y="2823346"/>
              <a:ext cx="1360438" cy="1141680"/>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30" name="Straight Connector 29"/>
            <p:cNvCxnSpPr/>
            <p:nvPr/>
          </p:nvCxnSpPr>
          <p:spPr>
            <a:xfrm flipH="1" flipV="1">
              <a:off x="4631954" y="2363635"/>
              <a:ext cx="6939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1" name="Rounded Rectangle 30"/>
            <p:cNvSpPr/>
            <p:nvPr/>
          </p:nvSpPr>
          <p:spPr>
            <a:xfrm>
              <a:off x="4818566" y="2823346"/>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32" name="Straight Connector 31"/>
            <p:cNvCxnSpPr/>
            <p:nvPr/>
          </p:nvCxnSpPr>
          <p:spPr>
            <a:xfrm flipH="1" flipV="1">
              <a:off x="5325904" y="3435351"/>
              <a:ext cx="175795" cy="43884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3" name="Rounded Rectangle 32"/>
            <p:cNvSpPr/>
            <p:nvPr/>
          </p:nvSpPr>
          <p:spPr>
            <a:xfrm>
              <a:off x="4818566" y="3874193"/>
              <a:ext cx="1366264" cy="1215789"/>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spTree>
    <p:extLst>
      <p:ext uri="{BB962C8B-B14F-4D97-AF65-F5344CB8AC3E}">
        <p14:creationId xmlns:p14="http://schemas.microsoft.com/office/powerpoint/2010/main" val="321266678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ark SQL</a:t>
            </a:r>
            <a:endParaRPr lang="en-US" dirty="0"/>
          </a:p>
        </p:txBody>
      </p:sp>
      <p:pic>
        <p:nvPicPr>
          <p:cNvPr id="5" name="Content Placeholder 4"/>
          <p:cNvPicPr>
            <a:picLocks noGrp="1" noChangeAspect="1"/>
          </p:cNvPicPr>
          <p:nvPr>
            <p:ph idx="4294967295"/>
          </p:nvPr>
        </p:nvPicPr>
        <p:blipFill>
          <a:blip r:embed="rId3"/>
          <a:stretch>
            <a:fillRect/>
          </a:stretch>
        </p:blipFill>
        <p:spPr>
          <a:xfrm>
            <a:off x="1987289" y="3433967"/>
            <a:ext cx="7054171" cy="2069367"/>
          </a:xfrm>
          <a:prstGeom prst="rect">
            <a:avLst/>
          </a:prstGeom>
        </p:spPr>
      </p:pic>
      <p:grpSp>
        <p:nvGrpSpPr>
          <p:cNvPr id="10" name="Group 9"/>
          <p:cNvGrpSpPr/>
          <p:nvPr/>
        </p:nvGrpSpPr>
        <p:grpSpPr>
          <a:xfrm>
            <a:off x="8586963" y="2995085"/>
            <a:ext cx="1957213" cy="1629833"/>
            <a:chOff x="228600" y="4129697"/>
            <a:chExt cx="1957213" cy="1629833"/>
          </a:xfrm>
        </p:grpSpPr>
        <p:sp>
          <p:nvSpPr>
            <p:cNvPr id="7" name="Oval 6"/>
            <p:cNvSpPr/>
            <p:nvPr/>
          </p:nvSpPr>
          <p:spPr>
            <a:xfrm>
              <a:off x="228600" y="4129697"/>
              <a:ext cx="1957213" cy="1629833"/>
            </a:xfrm>
            <a:prstGeom prst="ellipse">
              <a:avLst/>
            </a:prstGeom>
            <a:solidFill>
              <a:srgbClr val="1C96A7"/>
            </a:solidFill>
            <a:ln w="3175" cap="rnd">
              <a:solidFill>
                <a:schemeClr val="bg2">
                  <a:lumMod val="90000"/>
                </a:schemeClr>
              </a:solidFill>
              <a:prstDash val="solid"/>
            </a:ln>
            <a:effectLst>
              <a:outerShdw blurRad="254000" dist="152400" dir="2700000" algn="tl" rotWithShape="0">
                <a:prstClr val="black">
                  <a:alpha val="19000"/>
                </a:prstClr>
              </a:outerShdw>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chemeClr val="bg1"/>
                </a:solidFill>
                <a:latin typeface="Source Sans Pro" charset="0"/>
                <a:ea typeface="Source Sans Pro" charset="0"/>
                <a:cs typeface="Source Sans Pro" charset="0"/>
              </a:endParaRPr>
            </a:p>
          </p:txBody>
        </p:sp>
        <p:sp>
          <p:nvSpPr>
            <p:cNvPr id="8" name="TextBox 7"/>
            <p:cNvSpPr txBox="1"/>
            <p:nvPr/>
          </p:nvSpPr>
          <p:spPr>
            <a:xfrm>
              <a:off x="448251" y="4529114"/>
              <a:ext cx="1517910" cy="861774"/>
            </a:xfrm>
            <a:prstGeom prst="rect">
              <a:avLst/>
            </a:prstGeom>
            <a:solidFill>
              <a:srgbClr val="1C96A7"/>
            </a:solidFill>
          </p:spPr>
          <p:txBody>
            <a:bodyPr wrap="square" rtlCol="0">
              <a:spAutoFit/>
            </a:bodyPr>
            <a:lstStyle/>
            <a:p>
              <a:pPr algn="ctr"/>
              <a:r>
                <a:rPr lang="en-US" sz="1600" b="1" dirty="0">
                  <a:solidFill>
                    <a:schemeClr val="bg1"/>
                  </a:solidFill>
                  <a:latin typeface="Source Sans Pro" charset="0"/>
                  <a:ea typeface="Source Sans Pro" charset="0"/>
                  <a:cs typeface="Source Sans Pro" charset="0"/>
                </a:rPr>
                <a:t>Improved multi-version support in 1.4</a:t>
              </a:r>
            </a:p>
          </p:txBody>
        </p:sp>
      </p:grpSp>
      <p:sp>
        <p:nvSpPr>
          <p:cNvPr id="9" name="TextBox 8"/>
          <p:cNvSpPr txBox="1"/>
          <p:nvPr/>
        </p:nvSpPr>
        <p:spPr>
          <a:xfrm>
            <a:off x="1752600" y="1418169"/>
            <a:ext cx="8586613" cy="1415772"/>
          </a:xfrm>
          <a:prstGeom prst="rect">
            <a:avLst/>
          </a:prstGeom>
          <a:noFill/>
        </p:spPr>
        <p:txBody>
          <a:bodyPr wrap="square" lIns="121917" tIns="60958" rIns="121917" bIns="60958" rtlCol="0">
            <a:spAutoFit/>
          </a:bodyPr>
          <a:lstStyle/>
          <a:p>
            <a:pPr marL="457189" indent="-457189">
              <a:buFont typeface="Arial" charset="0"/>
              <a:buChar char="•"/>
            </a:pPr>
            <a:r>
              <a:rPr lang="en-US" sz="2800" dirty="0">
                <a:latin typeface="Source Sans Pro Light"/>
                <a:ea typeface="Source Sans Pro" charset="0"/>
                <a:cs typeface="Source Sans Pro Light"/>
              </a:rPr>
              <a:t>Part of the core distribution since 1.0 (April 2014)</a:t>
            </a:r>
          </a:p>
          <a:p>
            <a:pPr marL="457189" indent="-457189">
              <a:buFont typeface="Arial" charset="0"/>
              <a:buChar char="•"/>
            </a:pPr>
            <a:r>
              <a:rPr lang="en-US" sz="2800" dirty="0">
                <a:latin typeface="Source Sans Pro Light"/>
                <a:ea typeface="Source Sans Pro" charset="0"/>
                <a:cs typeface="Source Sans Pro Light"/>
              </a:rPr>
              <a:t>Runs SQL / </a:t>
            </a:r>
            <a:r>
              <a:rPr lang="en-US" sz="2800" dirty="0" err="1">
                <a:latin typeface="Source Sans Pro Light"/>
                <a:ea typeface="Source Sans Pro" charset="0"/>
                <a:cs typeface="Source Sans Pro Light"/>
              </a:rPr>
              <a:t>HiveQL</a:t>
            </a:r>
            <a:r>
              <a:rPr lang="en-US" sz="2800" dirty="0">
                <a:latin typeface="Source Sans Pro Light"/>
                <a:ea typeface="Source Sans Pro" charset="0"/>
                <a:cs typeface="Source Sans Pro Light"/>
              </a:rPr>
              <a:t> queries, optionally alongside or replacing existing Hive deployments</a:t>
            </a:r>
          </a:p>
        </p:txBody>
      </p:sp>
      <p:sp>
        <p:nvSpPr>
          <p:cNvPr id="3" name="Rectangle 2"/>
          <p:cNvSpPr/>
          <p:nvPr/>
        </p:nvSpPr>
        <p:spPr>
          <a:xfrm>
            <a:off x="657341" y="5657671"/>
            <a:ext cx="6096000" cy="1200329"/>
          </a:xfrm>
          <a:prstGeom prst="rect">
            <a:avLst/>
          </a:prstGeom>
        </p:spPr>
        <p:txBody>
          <a:bodyPr>
            <a:spAutoFit/>
          </a:bodyPr>
          <a:lstStyle/>
          <a:p>
            <a:r>
              <a:rPr lang="en-US" b="1" dirty="0"/>
              <a:t>Apache Spark @Scale: A 60 TB+ production use case from Facebook</a:t>
            </a:r>
          </a:p>
          <a:p>
            <a:r>
              <a:rPr lang="en-US" dirty="0" smtClean="0">
                <a:hlinkClick r:id="rId4"/>
              </a:rPr>
              <a:t>https</a:t>
            </a:r>
            <a:r>
              <a:rPr lang="en-US" dirty="0">
                <a:hlinkClick r:id="rId4"/>
              </a:rPr>
              <a:t>://</a:t>
            </a:r>
            <a:r>
              <a:rPr lang="en-US" dirty="0" err="1">
                <a:hlinkClick r:id="rId4"/>
              </a:rPr>
              <a:t>databricks.com</a:t>
            </a:r>
            <a:r>
              <a:rPr lang="en-US" dirty="0">
                <a:hlinkClick r:id="rId4"/>
              </a:rPr>
              <a:t>/blog/2016/08/31/apache-spark-scale-a-60-tb-production-use-case.html</a:t>
            </a:r>
            <a:endParaRPr lang="en-US" dirty="0"/>
          </a:p>
        </p:txBody>
      </p:sp>
    </p:spTree>
    <p:extLst>
      <p:ext uri="{BB962C8B-B14F-4D97-AF65-F5344CB8AC3E}">
        <p14:creationId xmlns:p14="http://schemas.microsoft.com/office/powerpoint/2010/main" val="23815416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Logical Plan Optimization and Physical Execution</a:t>
            </a:r>
          </a:p>
        </p:txBody>
      </p:sp>
      <p:sp>
        <p:nvSpPr>
          <p:cNvPr id="56" name="Rectangle 55"/>
          <p:cNvSpPr/>
          <p:nvPr/>
        </p:nvSpPr>
        <p:spPr>
          <a:xfrm>
            <a:off x="2427595" y="1505538"/>
            <a:ext cx="9445090" cy="707882"/>
          </a:xfrm>
          <a:prstGeom prst="rect">
            <a:avLst/>
          </a:prstGeom>
        </p:spPr>
        <p:txBody>
          <a:bodyPr wrap="square" lIns="121917" tIns="60958" rIns="121917" bIns="60958">
            <a:spAutoFit/>
          </a:bodyPr>
          <a:lstStyle/>
          <a:p>
            <a:r>
              <a:rPr lang="da-DK" dirty="0">
                <a:latin typeface="Consolas"/>
                <a:cs typeface="Consolas"/>
              </a:rPr>
              <a:t>joined = users.join(events, users.id == events.uid)</a:t>
            </a:r>
          </a:p>
          <a:p>
            <a:r>
              <a:rPr lang="da-DK" dirty="0">
                <a:latin typeface="Consolas"/>
                <a:cs typeface="Consolas"/>
              </a:rPr>
              <a:t>filtered = joined.filter(events.date &gt;= </a:t>
            </a:r>
            <a:r>
              <a:rPr lang="nl-NL" dirty="0">
                <a:latin typeface="Consolas"/>
                <a:ea typeface="Consolas" charset="0"/>
                <a:cs typeface="Consolas"/>
              </a:rPr>
              <a:t>"</a:t>
            </a:r>
            <a:r>
              <a:rPr lang="da-DK" dirty="0">
                <a:latin typeface="Consolas"/>
                <a:cs typeface="Consolas"/>
              </a:rPr>
              <a:t>2015-01-01</a:t>
            </a:r>
            <a:r>
              <a:rPr lang="nl-NL" dirty="0">
                <a:latin typeface="Consolas"/>
                <a:ea typeface="Consolas" charset="0"/>
                <a:cs typeface="Consolas"/>
              </a:rPr>
              <a:t>"</a:t>
            </a:r>
            <a:r>
              <a:rPr lang="da-DK" dirty="0">
                <a:latin typeface="Consolas"/>
                <a:cs typeface="Consolas"/>
              </a:rPr>
              <a:t>)</a:t>
            </a:r>
          </a:p>
        </p:txBody>
      </p:sp>
      <p:grpSp>
        <p:nvGrpSpPr>
          <p:cNvPr id="34" name="Group 33"/>
          <p:cNvGrpSpPr/>
          <p:nvPr/>
        </p:nvGrpSpPr>
        <p:grpSpPr>
          <a:xfrm>
            <a:off x="8447782" y="2952886"/>
            <a:ext cx="3216231" cy="2986414"/>
            <a:chOff x="6264089" y="2190744"/>
            <a:chExt cx="2404627" cy="1683721"/>
          </a:xfrm>
        </p:grpSpPr>
        <p:cxnSp>
          <p:nvCxnSpPr>
            <p:cNvPr id="35" name="Straight Connector 34"/>
            <p:cNvCxnSpPr/>
            <p:nvPr/>
          </p:nvCxnSpPr>
          <p:spPr>
            <a:xfrm flipV="1">
              <a:off x="6771427" y="2802749"/>
              <a:ext cx="696002"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6" name="Rounded Rectangle 35"/>
            <p:cNvSpPr/>
            <p:nvPr/>
          </p:nvSpPr>
          <p:spPr>
            <a:xfrm>
              <a:off x="6960091" y="2190744"/>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37" name="Rounded Rectangle 36"/>
            <p:cNvSpPr/>
            <p:nvPr/>
          </p:nvSpPr>
          <p:spPr>
            <a:xfrm>
              <a:off x="6264089" y="326246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38" name="Straight Connector 37"/>
            <p:cNvCxnSpPr/>
            <p:nvPr/>
          </p:nvCxnSpPr>
          <p:spPr>
            <a:xfrm flipH="1" flipV="1">
              <a:off x="7467429" y="2802749"/>
              <a:ext cx="6939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9" name="Rounded Rectangle 38"/>
            <p:cNvSpPr/>
            <p:nvPr/>
          </p:nvSpPr>
          <p:spPr>
            <a:xfrm>
              <a:off x="7654041" y="326246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b="1" dirty="0">
                  <a:latin typeface="Source Sans Pro"/>
                  <a:cs typeface="Source Sans Pro"/>
                </a:rPr>
                <a:t>filter scan</a:t>
              </a:r>
            </a:p>
            <a:p>
              <a:pPr algn="ctr"/>
              <a:r>
                <a:rPr lang="en-US" dirty="0">
                  <a:latin typeface="Source Sans Pro Light"/>
                  <a:cs typeface="Source Sans Pro Light"/>
                </a:rPr>
                <a:t>(events)</a:t>
              </a:r>
            </a:p>
          </p:txBody>
        </p:sp>
      </p:grpSp>
      <p:sp>
        <p:nvSpPr>
          <p:cNvPr id="40" name="TextBox 39"/>
          <p:cNvSpPr txBox="1"/>
          <p:nvPr/>
        </p:nvSpPr>
        <p:spPr>
          <a:xfrm>
            <a:off x="3478499" y="6203911"/>
            <a:ext cx="6698089" cy="461665"/>
          </a:xfrm>
          <a:prstGeom prst="rect">
            <a:avLst/>
          </a:prstGeom>
          <a:noFill/>
        </p:spPr>
        <p:txBody>
          <a:bodyPr wrap="square" rtlCol="0">
            <a:spAutoFit/>
          </a:bodyPr>
          <a:lstStyle/>
          <a:p>
            <a:r>
              <a:rPr lang="en-US" sz="2400" i="1" dirty="0">
                <a:solidFill>
                  <a:schemeClr val="accent2">
                    <a:lumMod val="75000"/>
                  </a:schemeClr>
                </a:solidFill>
                <a:latin typeface="+mj-lt"/>
                <a:ea typeface="Source Sans Pro" charset="0"/>
                <a:cs typeface="Source Sans Pro" charset="0"/>
              </a:rPr>
              <a:t>filter done by data source (e.g., RDBMS via JDBC)</a:t>
            </a:r>
          </a:p>
        </p:txBody>
      </p:sp>
      <p:grpSp>
        <p:nvGrpSpPr>
          <p:cNvPr id="41" name="Group 40"/>
          <p:cNvGrpSpPr/>
          <p:nvPr/>
        </p:nvGrpSpPr>
        <p:grpSpPr>
          <a:xfrm>
            <a:off x="712493" y="2107519"/>
            <a:ext cx="2923115" cy="3929784"/>
            <a:chOff x="130107" y="1160470"/>
            <a:chExt cx="2923116" cy="3929784"/>
          </a:xfrm>
        </p:grpSpPr>
        <p:sp>
          <p:nvSpPr>
            <p:cNvPr id="42" name="TextBox 41"/>
            <p:cNvSpPr txBox="1"/>
            <p:nvPr/>
          </p:nvSpPr>
          <p:spPr>
            <a:xfrm>
              <a:off x="675598" y="1160470"/>
              <a:ext cx="1282723" cy="369332"/>
            </a:xfrm>
            <a:prstGeom prst="rect">
              <a:avLst/>
            </a:prstGeom>
            <a:noFill/>
          </p:spPr>
          <p:txBody>
            <a:bodyPr wrap="none" rtlCol="0">
              <a:spAutoFit/>
            </a:bodyPr>
            <a:lstStyle/>
            <a:p>
              <a:r>
                <a:rPr lang="en-US" dirty="0">
                  <a:latin typeface="+mj-lt"/>
                  <a:cs typeface="Source Sans Pro Light"/>
                </a:rPr>
                <a:t>logical plan</a:t>
              </a:r>
            </a:p>
          </p:txBody>
        </p:sp>
        <p:grpSp>
          <p:nvGrpSpPr>
            <p:cNvPr id="43" name="Group 42"/>
            <p:cNvGrpSpPr/>
            <p:nvPr/>
          </p:nvGrpSpPr>
          <p:grpSpPr>
            <a:xfrm>
              <a:off x="130107" y="1767152"/>
              <a:ext cx="2923116" cy="3323102"/>
              <a:chOff x="130107" y="1767152"/>
              <a:chExt cx="2923116" cy="3323102"/>
            </a:xfrm>
          </p:grpSpPr>
          <p:sp>
            <p:nvSpPr>
              <p:cNvPr id="44" name="Rounded Rectangle 43"/>
              <p:cNvSpPr/>
              <p:nvPr/>
            </p:nvSpPr>
            <p:spPr>
              <a:xfrm>
                <a:off x="1016000" y="176715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45" name="Straight Connector 44"/>
              <p:cNvCxnSpPr>
                <a:stCxn id="45" idx="0"/>
                <a:endCxn id="46" idx="2"/>
              </p:cNvCxnSpPr>
              <p:nvPr/>
            </p:nvCxnSpPr>
            <p:spPr>
              <a:xfrm flipV="1">
                <a:off x="825083" y="3408648"/>
                <a:ext cx="698255" cy="457212"/>
              </a:xfrm>
              <a:prstGeom prst="line">
                <a:avLst/>
              </a:prstGeom>
              <a:ln>
                <a:tailEnd type="triangle" w="lg"/>
              </a:ln>
            </p:spPr>
            <p:style>
              <a:lnRef idx="2">
                <a:schemeClr val="dk1"/>
              </a:lnRef>
              <a:fillRef idx="0">
                <a:schemeClr val="dk1"/>
              </a:fillRef>
              <a:effectRef idx="1">
                <a:schemeClr val="dk1"/>
              </a:effectRef>
              <a:fontRef idx="minor">
                <a:schemeClr val="tx1"/>
              </a:fontRef>
            </p:style>
          </p:cxnSp>
          <p:cxnSp>
            <p:nvCxnSpPr>
              <p:cNvPr id="46" name="Straight Connector 45"/>
              <p:cNvCxnSpPr>
                <a:endCxn id="47" idx="2"/>
              </p:cNvCxnSpPr>
              <p:nvPr/>
            </p:nvCxnSpPr>
            <p:spPr>
              <a:xfrm flipV="1">
                <a:off x="1520060" y="2379157"/>
                <a:ext cx="3278" cy="41979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47" name="Rounded Rectangle 46"/>
              <p:cNvSpPr/>
              <p:nvPr/>
            </p:nvSpPr>
            <p:spPr>
              <a:xfrm>
                <a:off x="1016000" y="279664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48" name="Rounded Rectangle 47"/>
              <p:cNvSpPr/>
              <p:nvPr/>
            </p:nvSpPr>
            <p:spPr>
              <a:xfrm>
                <a:off x="130107" y="3865860"/>
                <a:ext cx="1389952" cy="1224394"/>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49" name="Straight Connector 48"/>
              <p:cNvCxnSpPr>
                <a:endCxn id="46" idx="2"/>
              </p:cNvCxnSpPr>
              <p:nvPr/>
            </p:nvCxnSpPr>
            <p:spPr>
              <a:xfrm flipH="1" flipV="1">
                <a:off x="1523337" y="3408648"/>
                <a:ext cx="8582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50" name="Rounded Rectangle 49"/>
              <p:cNvSpPr/>
              <p:nvPr/>
            </p:nvSpPr>
            <p:spPr>
              <a:xfrm>
                <a:off x="1709949" y="3868358"/>
                <a:ext cx="1343274" cy="1221896"/>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grpSp>
      <p:grpSp>
        <p:nvGrpSpPr>
          <p:cNvPr id="51" name="Group 50"/>
          <p:cNvGrpSpPr/>
          <p:nvPr/>
        </p:nvGrpSpPr>
        <p:grpSpPr>
          <a:xfrm>
            <a:off x="4545011" y="2107519"/>
            <a:ext cx="3101977" cy="3929785"/>
            <a:chOff x="3082851" y="1160197"/>
            <a:chExt cx="3101979" cy="3929785"/>
          </a:xfrm>
        </p:grpSpPr>
        <p:sp>
          <p:nvSpPr>
            <p:cNvPr id="52" name="TextBox 51"/>
            <p:cNvSpPr txBox="1"/>
            <p:nvPr/>
          </p:nvSpPr>
          <p:spPr>
            <a:xfrm>
              <a:off x="3569482" y="1160197"/>
              <a:ext cx="1630576" cy="369332"/>
            </a:xfrm>
            <a:prstGeom prst="rect">
              <a:avLst/>
            </a:prstGeom>
            <a:noFill/>
          </p:spPr>
          <p:txBody>
            <a:bodyPr wrap="none" rtlCol="0">
              <a:spAutoFit/>
            </a:bodyPr>
            <a:lstStyle/>
            <a:p>
              <a:r>
                <a:rPr lang="en-US" dirty="0">
                  <a:latin typeface="+mj-lt"/>
                  <a:cs typeface="Source Sans Pro Light"/>
                </a:rPr>
                <a:t>optimized plan</a:t>
              </a:r>
            </a:p>
          </p:txBody>
        </p:sp>
        <p:cxnSp>
          <p:nvCxnSpPr>
            <p:cNvPr id="53" name="Straight Connector 52"/>
            <p:cNvCxnSpPr/>
            <p:nvPr/>
          </p:nvCxnSpPr>
          <p:spPr>
            <a:xfrm flipV="1">
              <a:off x="3763070" y="2363636"/>
              <a:ext cx="868883"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54" name="Rounded Rectangle 53"/>
            <p:cNvSpPr/>
            <p:nvPr/>
          </p:nvSpPr>
          <p:spPr>
            <a:xfrm>
              <a:off x="4124616" y="175163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55" name="Rounded Rectangle 54"/>
            <p:cNvSpPr/>
            <p:nvPr/>
          </p:nvSpPr>
          <p:spPr>
            <a:xfrm>
              <a:off x="3082851" y="2823346"/>
              <a:ext cx="1360438" cy="1141680"/>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57" name="Straight Connector 56"/>
            <p:cNvCxnSpPr/>
            <p:nvPr/>
          </p:nvCxnSpPr>
          <p:spPr>
            <a:xfrm flipH="1" flipV="1">
              <a:off x="4631954" y="2363635"/>
              <a:ext cx="6939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58" name="Rounded Rectangle 57"/>
            <p:cNvSpPr/>
            <p:nvPr/>
          </p:nvSpPr>
          <p:spPr>
            <a:xfrm>
              <a:off x="4818566" y="2823346"/>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59" name="Straight Connector 58"/>
            <p:cNvCxnSpPr/>
            <p:nvPr/>
          </p:nvCxnSpPr>
          <p:spPr>
            <a:xfrm flipH="1" flipV="1">
              <a:off x="5325904" y="3435351"/>
              <a:ext cx="175795" cy="43884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60" name="Rounded Rectangle 59"/>
            <p:cNvSpPr/>
            <p:nvPr/>
          </p:nvSpPr>
          <p:spPr>
            <a:xfrm>
              <a:off x="4818566" y="3874193"/>
              <a:ext cx="1366264" cy="1215789"/>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sp>
        <p:nvSpPr>
          <p:cNvPr id="61" name="TextBox 60"/>
          <p:cNvSpPr txBox="1"/>
          <p:nvPr/>
        </p:nvSpPr>
        <p:spPr>
          <a:xfrm>
            <a:off x="8483552" y="2107519"/>
            <a:ext cx="2860271" cy="646331"/>
          </a:xfrm>
          <a:prstGeom prst="rect">
            <a:avLst/>
          </a:prstGeom>
          <a:noFill/>
        </p:spPr>
        <p:txBody>
          <a:bodyPr wrap="none" rtlCol="0">
            <a:spAutoFit/>
          </a:bodyPr>
          <a:lstStyle/>
          <a:p>
            <a:pPr algn="ctr"/>
            <a:r>
              <a:rPr lang="en-US" dirty="0">
                <a:latin typeface="+mj-lt"/>
                <a:cs typeface="Source Sans Pro Light"/>
              </a:rPr>
              <a:t>optimized plan</a:t>
            </a:r>
          </a:p>
          <a:p>
            <a:pPr algn="ctr"/>
            <a:r>
              <a:rPr lang="en-US" dirty="0">
                <a:latin typeface="+mj-lt"/>
                <a:cs typeface="Source Sans Pro Light"/>
              </a:rPr>
              <a:t>with intelligent data sources</a:t>
            </a:r>
          </a:p>
        </p:txBody>
      </p:sp>
      <p:sp>
        <p:nvSpPr>
          <p:cNvPr id="62" name="Right Arrow 61"/>
          <p:cNvSpPr/>
          <p:nvPr/>
        </p:nvSpPr>
        <p:spPr>
          <a:xfrm rot="19510939">
            <a:off x="9744185" y="5968310"/>
            <a:ext cx="971333" cy="386560"/>
          </a:xfrm>
          <a:prstGeom prst="rightArrow">
            <a:avLst/>
          </a:prstGeom>
          <a:solidFill>
            <a:schemeClr val="accent2">
              <a:lumMod val="7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143475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Intelligent Data Sources</a:t>
            </a:r>
          </a:p>
        </p:txBody>
      </p:sp>
      <p:sp>
        <p:nvSpPr>
          <p:cNvPr id="3" name="TextBox 2"/>
          <p:cNvSpPr txBox="1"/>
          <p:nvPr/>
        </p:nvSpPr>
        <p:spPr>
          <a:xfrm>
            <a:off x="849086" y="1582056"/>
            <a:ext cx="10305143" cy="4956629"/>
          </a:xfrm>
          <a:prstGeom prst="rect">
            <a:avLst/>
          </a:prstGeom>
          <a:noFill/>
        </p:spPr>
        <p:txBody>
          <a:bodyPr wrap="square" lIns="182880" tIns="146304" rIns="182880" bIns="146304" rtlCol="0">
            <a:noAutofit/>
          </a:bodyPr>
          <a:lstStyle/>
          <a:p>
            <a:pPr marL="457200" indent="-457200">
              <a:spcBef>
                <a:spcPts val="1333"/>
              </a:spcBef>
              <a:buFont typeface="Arial" panose="020B0604020202020204" pitchFamily="34" charset="0"/>
              <a:buChar char="•"/>
            </a:pPr>
            <a:r>
              <a:rPr lang="en-US" sz="3200" dirty="0">
                <a:latin typeface="+mj-lt"/>
              </a:rPr>
              <a:t>The Data Sources API can automatically prune columns and push filters to the source</a:t>
            </a:r>
          </a:p>
          <a:p>
            <a:pPr marL="1066785" lvl="1" indent="-457200">
              <a:spcBef>
                <a:spcPts val="1333"/>
              </a:spcBef>
              <a:buFont typeface="Arial" panose="020B0604020202020204" pitchFamily="34" charset="0"/>
              <a:buChar char="•"/>
            </a:pPr>
            <a:r>
              <a:rPr lang="en-US" sz="3200" b="1" dirty="0">
                <a:latin typeface="+mj-lt"/>
              </a:rPr>
              <a:t>Parquet:</a:t>
            </a:r>
            <a:r>
              <a:rPr lang="en-US" sz="3200" dirty="0">
                <a:latin typeface="+mj-lt"/>
              </a:rPr>
              <a:t> skip irrelevant columns and blocks of data; turn string comparison into integer comparisons for dictionary encoded data</a:t>
            </a:r>
          </a:p>
          <a:p>
            <a:pPr marL="1066785" lvl="1" indent="-457200">
              <a:spcBef>
                <a:spcPts val="1333"/>
              </a:spcBef>
              <a:buFont typeface="Arial" panose="020B0604020202020204" pitchFamily="34" charset="0"/>
              <a:buChar char="•"/>
            </a:pPr>
            <a:r>
              <a:rPr lang="en-US" sz="3200" b="1" dirty="0">
                <a:latin typeface="+mj-lt"/>
              </a:rPr>
              <a:t>JDBC:</a:t>
            </a:r>
            <a:r>
              <a:rPr lang="en-US" sz="3200" dirty="0">
                <a:latin typeface="+mj-lt"/>
              </a:rPr>
              <a:t> Rewrite queries to push predicates down</a:t>
            </a:r>
          </a:p>
          <a:p>
            <a:pPr>
              <a:lnSpc>
                <a:spcPct val="90000"/>
              </a:lnSpc>
              <a:spcAft>
                <a:spcPts val="600"/>
              </a:spcAft>
            </a:pPr>
            <a:endParaRPr lang="en-US" sz="32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406624682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341178" y="2463851"/>
            <a:ext cx="9403023" cy="3826460"/>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60156 w 8724954"/>
              <a:gd name="connsiteY5" fmla="*/ 2723048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696580 w 8724954"/>
              <a:gd name="connsiteY4" fmla="*/ 2981369 h 3060740"/>
              <a:gd name="connsiteX5" fmla="*/ 4360156 w 8724954"/>
              <a:gd name="connsiteY5" fmla="*/ 2723048 h 3060740"/>
              <a:gd name="connsiteX6" fmla="*/ 54 w 8724954"/>
              <a:gd name="connsiteY6" fmla="*/ 3060740 h 3060740"/>
              <a:gd name="connsiteX7" fmla="*/ 340472 w 8724954"/>
              <a:gd name="connsiteY7" fmla="*/ 1345100 h 3060740"/>
              <a:gd name="connsiteX8" fmla="*/ 54 w 8724954"/>
              <a:gd name="connsiteY8" fmla="*/ 40 h 3060740"/>
              <a:gd name="connsiteX0" fmla="*/ 0 w 8724900"/>
              <a:gd name="connsiteY0" fmla="*/ 40 h 2981369"/>
              <a:gd name="connsiteX1" fmla="*/ 4279900 w 8724900"/>
              <a:gd name="connsiteY1" fmla="*/ 317540 h 2981369"/>
              <a:gd name="connsiteX2" fmla="*/ 8724900 w 8724900"/>
              <a:gd name="connsiteY2" fmla="*/ 40 h 2981369"/>
              <a:gd name="connsiteX3" fmla="*/ 8455718 w 8724900"/>
              <a:gd name="connsiteY3" fmla="*/ 1421300 h 2981369"/>
              <a:gd name="connsiteX4" fmla="*/ 8696526 w 8724900"/>
              <a:gd name="connsiteY4" fmla="*/ 2981369 h 2981369"/>
              <a:gd name="connsiteX5" fmla="*/ 4360102 w 8724900"/>
              <a:gd name="connsiteY5" fmla="*/ 2723048 h 2981369"/>
              <a:gd name="connsiteX6" fmla="*/ 85121 w 8724900"/>
              <a:gd name="connsiteY6" fmla="*/ 2973432 h 2981369"/>
              <a:gd name="connsiteX7" fmla="*/ 340418 w 8724900"/>
              <a:gd name="connsiteY7" fmla="*/ 1345100 h 2981369"/>
              <a:gd name="connsiteX8" fmla="*/ 0 w 8724900"/>
              <a:gd name="connsiteY8" fmla="*/ 40 h 2981369"/>
              <a:gd name="connsiteX0" fmla="*/ 9511 w 8734411"/>
              <a:gd name="connsiteY0" fmla="*/ 40 h 2989306"/>
              <a:gd name="connsiteX1" fmla="*/ 4289411 w 8734411"/>
              <a:gd name="connsiteY1" fmla="*/ 317540 h 2989306"/>
              <a:gd name="connsiteX2" fmla="*/ 8734411 w 8734411"/>
              <a:gd name="connsiteY2" fmla="*/ 40 h 2989306"/>
              <a:gd name="connsiteX3" fmla="*/ 8465229 w 8734411"/>
              <a:gd name="connsiteY3" fmla="*/ 1421300 h 2989306"/>
              <a:gd name="connsiteX4" fmla="*/ 8706037 w 8734411"/>
              <a:gd name="connsiteY4" fmla="*/ 2981369 h 2989306"/>
              <a:gd name="connsiteX5" fmla="*/ 4369613 w 8734411"/>
              <a:gd name="connsiteY5" fmla="*/ 2723048 h 2989306"/>
              <a:gd name="connsiteX6" fmla="*/ 52 w 8734411"/>
              <a:gd name="connsiteY6" fmla="*/ 2989306 h 2989306"/>
              <a:gd name="connsiteX7" fmla="*/ 349929 w 8734411"/>
              <a:gd name="connsiteY7" fmla="*/ 1345100 h 2989306"/>
              <a:gd name="connsiteX8" fmla="*/ 9511 w 8734411"/>
              <a:gd name="connsiteY8" fmla="*/ 40 h 2989306"/>
              <a:gd name="connsiteX0" fmla="*/ 47343 w 8734411"/>
              <a:gd name="connsiteY0" fmla="*/ 47622 h 2989266"/>
              <a:gd name="connsiteX1" fmla="*/ 4289411 w 8734411"/>
              <a:gd name="connsiteY1" fmla="*/ 317500 h 2989266"/>
              <a:gd name="connsiteX2" fmla="*/ 8734411 w 8734411"/>
              <a:gd name="connsiteY2" fmla="*/ 0 h 2989266"/>
              <a:gd name="connsiteX3" fmla="*/ 8465229 w 8734411"/>
              <a:gd name="connsiteY3" fmla="*/ 1421260 h 2989266"/>
              <a:gd name="connsiteX4" fmla="*/ 8706037 w 8734411"/>
              <a:gd name="connsiteY4" fmla="*/ 2981329 h 2989266"/>
              <a:gd name="connsiteX5" fmla="*/ 4369613 w 8734411"/>
              <a:gd name="connsiteY5" fmla="*/ 2723008 h 2989266"/>
              <a:gd name="connsiteX6" fmla="*/ 52 w 8734411"/>
              <a:gd name="connsiteY6" fmla="*/ 2989266 h 2989266"/>
              <a:gd name="connsiteX7" fmla="*/ 349929 w 8734411"/>
              <a:gd name="connsiteY7" fmla="*/ 1345060 h 2989266"/>
              <a:gd name="connsiteX8" fmla="*/ 47343 w 8734411"/>
              <a:gd name="connsiteY8" fmla="*/ 47622 h 2989266"/>
              <a:gd name="connsiteX0" fmla="*/ 28427 w 8734411"/>
              <a:gd name="connsiteY0" fmla="*/ 38 h 3013116"/>
              <a:gd name="connsiteX1" fmla="*/ 4289411 w 8734411"/>
              <a:gd name="connsiteY1" fmla="*/ 341350 h 3013116"/>
              <a:gd name="connsiteX2" fmla="*/ 8734411 w 8734411"/>
              <a:gd name="connsiteY2" fmla="*/ 23850 h 3013116"/>
              <a:gd name="connsiteX3" fmla="*/ 8465229 w 8734411"/>
              <a:gd name="connsiteY3" fmla="*/ 1445110 h 3013116"/>
              <a:gd name="connsiteX4" fmla="*/ 8706037 w 8734411"/>
              <a:gd name="connsiteY4" fmla="*/ 3005179 h 3013116"/>
              <a:gd name="connsiteX5" fmla="*/ 4369613 w 8734411"/>
              <a:gd name="connsiteY5" fmla="*/ 2746858 h 3013116"/>
              <a:gd name="connsiteX6" fmla="*/ 52 w 8734411"/>
              <a:gd name="connsiteY6" fmla="*/ 3013116 h 3013116"/>
              <a:gd name="connsiteX7" fmla="*/ 349929 w 8734411"/>
              <a:gd name="connsiteY7" fmla="*/ 1368910 h 3013116"/>
              <a:gd name="connsiteX8" fmla="*/ 28427 w 8734411"/>
              <a:gd name="connsiteY8" fmla="*/ 38 h 3013116"/>
              <a:gd name="connsiteX0" fmla="*/ 0 w 8753274"/>
              <a:gd name="connsiteY0" fmla="*/ 7937 h 2989266"/>
              <a:gd name="connsiteX1" fmla="*/ 4308274 w 8753274"/>
              <a:gd name="connsiteY1" fmla="*/ 317500 h 2989266"/>
              <a:gd name="connsiteX2" fmla="*/ 8753274 w 8753274"/>
              <a:gd name="connsiteY2" fmla="*/ 0 h 2989266"/>
              <a:gd name="connsiteX3" fmla="*/ 8484092 w 8753274"/>
              <a:gd name="connsiteY3" fmla="*/ 1421260 h 2989266"/>
              <a:gd name="connsiteX4" fmla="*/ 8724900 w 8753274"/>
              <a:gd name="connsiteY4" fmla="*/ 2981329 h 2989266"/>
              <a:gd name="connsiteX5" fmla="*/ 4388476 w 8753274"/>
              <a:gd name="connsiteY5" fmla="*/ 2723008 h 2989266"/>
              <a:gd name="connsiteX6" fmla="*/ 18915 w 8753274"/>
              <a:gd name="connsiteY6" fmla="*/ 2989266 h 2989266"/>
              <a:gd name="connsiteX7" fmla="*/ 368792 w 8753274"/>
              <a:gd name="connsiteY7" fmla="*/ 1345060 h 2989266"/>
              <a:gd name="connsiteX8" fmla="*/ 0 w 8753274"/>
              <a:gd name="connsiteY8" fmla="*/ 7937 h 298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53274" h="2989266">
                <a:moveTo>
                  <a:pt x="0" y="7937"/>
                </a:moveTo>
                <a:cubicBezTo>
                  <a:pt x="1435100" y="3704"/>
                  <a:pt x="2873174" y="321733"/>
                  <a:pt x="4308274" y="317500"/>
                </a:cubicBezTo>
                <a:lnTo>
                  <a:pt x="8753274" y="0"/>
                </a:lnTo>
                <a:cubicBezTo>
                  <a:pt x="8752447" y="444120"/>
                  <a:pt x="8484919" y="977140"/>
                  <a:pt x="8484092" y="1421260"/>
                </a:cubicBezTo>
                <a:lnTo>
                  <a:pt x="8724900" y="2981329"/>
                </a:lnTo>
                <a:cubicBezTo>
                  <a:pt x="7280506" y="2976716"/>
                  <a:pt x="5832870" y="2727621"/>
                  <a:pt x="4388476" y="2723008"/>
                </a:cubicBezTo>
                <a:lnTo>
                  <a:pt x="18915" y="2989266"/>
                </a:lnTo>
                <a:cubicBezTo>
                  <a:pt x="13854" y="2417386"/>
                  <a:pt x="373853" y="1916940"/>
                  <a:pt x="368792" y="1345060"/>
                </a:cubicBezTo>
                <a:lnTo>
                  <a:pt x="0" y="7937"/>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245576" y="275167"/>
            <a:ext cx="8351923" cy="909919"/>
          </a:xfrm>
        </p:spPr>
        <p:txBody>
          <a:bodyPr>
            <a:normAutofit/>
          </a:bodyPr>
          <a:lstStyle/>
          <a:p>
            <a:r>
              <a:rPr lang="en-US" dirty="0"/>
              <a:t>Explain</a:t>
            </a:r>
          </a:p>
        </p:txBody>
      </p:sp>
      <p:sp>
        <p:nvSpPr>
          <p:cNvPr id="3" name="Content Placeholder 2"/>
          <p:cNvSpPr>
            <a:spLocks noGrp="1"/>
          </p:cNvSpPr>
          <p:nvPr>
            <p:ph idx="1"/>
          </p:nvPr>
        </p:nvSpPr>
        <p:spPr>
          <a:xfrm>
            <a:off x="1353738" y="1299386"/>
            <a:ext cx="9199876" cy="1240615"/>
          </a:xfrm>
        </p:spPr>
        <p:txBody>
          <a:bodyPr>
            <a:noAutofit/>
          </a:bodyPr>
          <a:lstStyle/>
          <a:p>
            <a:r>
              <a:rPr lang="en-US" sz="2900" dirty="0">
                <a:solidFill>
                  <a:schemeClr val="tx1"/>
                </a:solidFill>
                <a:latin typeface="Source Sans Pro Light" charset="0"/>
                <a:ea typeface="Source Sans Pro Light" charset="0"/>
                <a:cs typeface="Source Sans Pro Light" charset="0"/>
              </a:rPr>
              <a:t>You can dump the query plan to standard output, so you can get an idea of how Spark will execute your  query.</a:t>
            </a:r>
          </a:p>
        </p:txBody>
      </p:sp>
      <p:sp>
        <p:nvSpPr>
          <p:cNvPr id="5" name="Rectangle 4"/>
          <p:cNvSpPr/>
          <p:nvPr/>
        </p:nvSpPr>
        <p:spPr>
          <a:xfrm>
            <a:off x="1638301" y="2705101"/>
            <a:ext cx="8880475" cy="3314700"/>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endParaRPr lang="en-US" sz="1500" dirty="0">
              <a:solidFill>
                <a:srgbClr val="0070C0"/>
              </a:solidFill>
              <a:latin typeface="Consolas" charset="0"/>
              <a:ea typeface="Consolas" charset="0"/>
              <a:cs typeface="Consolas" charset="0"/>
            </a:endParaRPr>
          </a:p>
          <a:p>
            <a:endParaRPr lang="en-US" sz="1500" dirty="0">
              <a:solidFill>
                <a:srgbClr val="0070C0"/>
              </a:solidFill>
              <a:latin typeface="Consolas" charset="0"/>
              <a:ea typeface="Consolas" charset="0"/>
              <a:cs typeface="Consolas" charset="0"/>
            </a:endParaRPr>
          </a:p>
          <a:p>
            <a:r>
              <a:rPr lang="en-US" sz="1500" dirty="0" err="1">
                <a:solidFill>
                  <a:schemeClr val="tx1"/>
                </a:solidFill>
                <a:latin typeface="Consolas" charset="0"/>
                <a:ea typeface="Consolas" charset="0"/>
                <a:cs typeface="Consolas" charset="0"/>
              </a:rPr>
              <a:t>scala</a:t>
            </a:r>
            <a:r>
              <a:rPr lang="en-US" sz="1500" dirty="0">
                <a:solidFill>
                  <a:schemeClr val="tx1"/>
                </a:solidFill>
                <a:latin typeface="Consolas" charset="0"/>
                <a:ea typeface="Consolas" charset="0"/>
                <a:cs typeface="Consolas" charset="0"/>
              </a:rPr>
              <a:t>&gt; </a:t>
            </a:r>
            <a:r>
              <a:rPr lang="en-US" sz="1500" b="1" dirty="0" err="1">
                <a:solidFill>
                  <a:schemeClr val="accent6">
                    <a:lumMod val="75000"/>
                  </a:schemeClr>
                </a:solidFill>
                <a:latin typeface="Consolas" charset="0"/>
                <a:ea typeface="Consolas" charset="0"/>
                <a:cs typeface="Consolas" charset="0"/>
              </a:rPr>
              <a:t>val</a:t>
            </a:r>
            <a:r>
              <a:rPr lang="en-US" sz="1500" dirty="0">
                <a:solidFill>
                  <a:schemeClr val="accent6">
                    <a:lumMod val="75000"/>
                  </a:schemeClr>
                </a:solidFill>
                <a:latin typeface="Consolas" charset="0"/>
                <a:ea typeface="Consolas" charset="0"/>
                <a:cs typeface="Consolas" charset="0"/>
              </a:rPr>
              <a:t> </a:t>
            </a:r>
            <a:r>
              <a:rPr lang="en-US" sz="1500" b="1" dirty="0">
                <a:solidFill>
                  <a:schemeClr val="tx1"/>
                </a:solidFill>
                <a:latin typeface="Consolas" charset="0"/>
                <a:ea typeface="Consolas" charset="0"/>
                <a:cs typeface="Consolas" charset="0"/>
              </a:rPr>
              <a:t>df3 = </a:t>
            </a:r>
            <a:r>
              <a:rPr lang="en-US" sz="1500" b="1" dirty="0" err="1">
                <a:solidFill>
                  <a:schemeClr val="tx1"/>
                </a:solidFill>
                <a:latin typeface="Consolas" charset="0"/>
                <a:ea typeface="Consolas" charset="0"/>
                <a:cs typeface="Consolas" charset="0"/>
              </a:rPr>
              <a:t>df.join</a:t>
            </a:r>
            <a:r>
              <a:rPr lang="en-US" sz="1500" b="1" dirty="0">
                <a:solidFill>
                  <a:schemeClr val="tx1"/>
                </a:solidFill>
                <a:latin typeface="Consolas" charset="0"/>
                <a:ea typeface="Consolas" charset="0"/>
                <a:cs typeface="Consolas" charset="0"/>
              </a:rPr>
              <a:t>(df2, </a:t>
            </a:r>
            <a:br>
              <a:rPr lang="en-US" sz="1500" b="1" dirty="0">
                <a:solidFill>
                  <a:schemeClr val="tx1"/>
                </a:solidFill>
                <a:latin typeface="Consolas" charset="0"/>
                <a:ea typeface="Consolas" charset="0"/>
                <a:cs typeface="Consolas" charset="0"/>
              </a:rPr>
            </a:br>
            <a:r>
              <a:rPr lang="en-US" sz="1500" b="1" dirty="0">
                <a:solidFill>
                  <a:schemeClr val="tx1"/>
                </a:solidFill>
                <a:latin typeface="Consolas" charset="0"/>
                <a:ea typeface="Consolas" charset="0"/>
                <a:cs typeface="Consolas" charset="0"/>
              </a:rPr>
              <a:t>  (</a:t>
            </a:r>
            <a:r>
              <a:rPr lang="en-US" sz="1500" b="1" dirty="0" err="1">
                <a:solidFill>
                  <a:schemeClr val="tx1"/>
                </a:solidFill>
                <a:latin typeface="Consolas" charset="0"/>
                <a:ea typeface="Consolas" charset="0"/>
                <a:cs typeface="Consolas" charset="0"/>
              </a:rPr>
              <a:t>df</a:t>
            </a:r>
            <a:r>
              <a:rPr lang="en-US" sz="1500" b="1" dirty="0">
                <a:solidFill>
                  <a:schemeClr val="tx1"/>
                </a:solidFill>
                <a:latin typeface="Consolas" charset="0"/>
                <a:ea typeface="Consolas" charset="0"/>
                <a:cs typeface="Consolas" charset="0"/>
              </a:rPr>
              <a:t>(</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first_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 === df2(</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first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 &amp; (</a:t>
            </a:r>
            <a:r>
              <a:rPr lang="en-US" sz="1500" b="1" dirty="0" err="1">
                <a:solidFill>
                  <a:schemeClr val="tx1"/>
                </a:solidFill>
                <a:latin typeface="Consolas" charset="0"/>
                <a:ea typeface="Consolas" charset="0"/>
                <a:cs typeface="Consolas" charset="0"/>
              </a:rPr>
              <a:t>df</a:t>
            </a:r>
            <a:r>
              <a:rPr lang="en-US" sz="1500" b="1" dirty="0">
                <a:solidFill>
                  <a:schemeClr val="tx1"/>
                </a:solidFill>
                <a:latin typeface="Consolas" charset="0"/>
                <a:ea typeface="Consolas" charset="0"/>
                <a:cs typeface="Consolas" charset="0"/>
              </a:rPr>
              <a:t>(</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last_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 === df2(</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last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a:t>
            </a:r>
          </a:p>
          <a:p>
            <a:r>
              <a:rPr lang="en-US" sz="1500" dirty="0" err="1">
                <a:solidFill>
                  <a:schemeClr val="tx1"/>
                </a:solidFill>
                <a:latin typeface="Consolas" charset="0"/>
                <a:ea typeface="Consolas" charset="0"/>
                <a:cs typeface="Consolas" charset="0"/>
              </a:rPr>
              <a:t>scala</a:t>
            </a:r>
            <a:r>
              <a:rPr lang="en-US" sz="1500" dirty="0">
                <a:solidFill>
                  <a:schemeClr val="tx1"/>
                </a:solidFill>
                <a:latin typeface="Consolas" charset="0"/>
                <a:ea typeface="Consolas" charset="0"/>
                <a:cs typeface="Consolas" charset="0"/>
              </a:rPr>
              <a:t>&gt; </a:t>
            </a:r>
            <a:r>
              <a:rPr lang="en-US" sz="1500" b="1" dirty="0">
                <a:solidFill>
                  <a:schemeClr val="tx1"/>
                </a:solidFill>
                <a:latin typeface="Consolas" charset="0"/>
                <a:ea typeface="Consolas" charset="0"/>
                <a:cs typeface="Consolas" charset="0"/>
              </a:rPr>
              <a:t>df3.explain()</a:t>
            </a:r>
          </a:p>
          <a:p>
            <a:endParaRPr lang="en-US" sz="1500" b="1" dirty="0">
              <a:solidFill>
                <a:schemeClr val="tx1"/>
              </a:solidFill>
              <a:latin typeface="Consolas" charset="0"/>
              <a:ea typeface="Consolas" charset="0"/>
              <a:cs typeface="Consolas" charset="0"/>
            </a:endParaRPr>
          </a:p>
          <a:p>
            <a:r>
              <a:rPr lang="en-US" sz="1500" dirty="0" err="1">
                <a:solidFill>
                  <a:srgbClr val="666666"/>
                </a:solidFill>
                <a:latin typeface="Consolas" charset="0"/>
                <a:ea typeface="Consolas" charset="0"/>
                <a:cs typeface="Consolas" charset="0"/>
              </a:rPr>
              <a:t>ShuffledHashJoin</a:t>
            </a:r>
            <a:r>
              <a:rPr lang="en-US" sz="1500" dirty="0">
                <a:solidFill>
                  <a:srgbClr val="666666"/>
                </a:solidFill>
                <a:latin typeface="Consolas" charset="0"/>
                <a:ea typeface="Consolas" charset="0"/>
                <a:cs typeface="Consolas" charset="0"/>
              </a:rPr>
              <a:t> [last_name#18], [lastName#36], </a:t>
            </a:r>
            <a:r>
              <a:rPr lang="en-US" sz="1500" dirty="0" err="1">
                <a:solidFill>
                  <a:srgbClr val="666666"/>
                </a:solidFill>
                <a:latin typeface="Consolas" charset="0"/>
                <a:ea typeface="Consolas" charset="0"/>
                <a:cs typeface="Consolas" charset="0"/>
              </a:rPr>
              <a:t>BuildRight</a:t>
            </a:r>
            <a:endParaRPr lang="en-US" sz="1500" dirty="0">
              <a:solidFill>
                <a:srgbClr val="666666"/>
              </a:solidFill>
              <a:latin typeface="Consolas" charset="0"/>
              <a:ea typeface="Consolas" charset="0"/>
              <a:cs typeface="Consolas" charset="0"/>
            </a:endParaRPr>
          </a:p>
          <a:p>
            <a:r>
              <a:rPr lang="en-US" sz="1500" dirty="0">
                <a:solidFill>
                  <a:srgbClr val="666666"/>
                </a:solidFill>
                <a:latin typeface="Consolas" charset="0"/>
                <a:ea typeface="Consolas" charset="0"/>
                <a:cs typeface="Consolas" charset="0"/>
              </a:rPr>
              <a:t> Exchange (</a:t>
            </a:r>
            <a:r>
              <a:rPr lang="en-US" sz="1500" dirty="0" err="1">
                <a:solidFill>
                  <a:srgbClr val="666666"/>
                </a:solidFill>
                <a:latin typeface="Consolas" charset="0"/>
                <a:ea typeface="Consolas" charset="0"/>
                <a:cs typeface="Consolas" charset="0"/>
              </a:rPr>
              <a:t>HashPartitioning</a:t>
            </a:r>
            <a:r>
              <a:rPr lang="en-US" sz="1500" dirty="0">
                <a:solidFill>
                  <a:srgbClr val="666666"/>
                </a:solidFill>
                <a:latin typeface="Consolas" charset="0"/>
                <a:ea typeface="Consolas" charset="0"/>
                <a:cs typeface="Consolas" charset="0"/>
              </a:rPr>
              <a:t> 200)</a:t>
            </a:r>
          </a:p>
          <a:p>
            <a:r>
              <a:rPr lang="en-US" sz="1500" dirty="0">
                <a:solidFill>
                  <a:srgbClr val="666666"/>
                </a:solidFill>
                <a:latin typeface="Consolas" charset="0"/>
                <a:ea typeface="Consolas" charset="0"/>
                <a:cs typeface="Consolas" charset="0"/>
              </a:rPr>
              <a:t>  </a:t>
            </a:r>
            <a:r>
              <a:rPr lang="en-US" sz="1500" dirty="0" err="1">
                <a:solidFill>
                  <a:srgbClr val="666666"/>
                </a:solidFill>
                <a:latin typeface="Consolas" charset="0"/>
                <a:ea typeface="Consolas" charset="0"/>
                <a:cs typeface="Consolas" charset="0"/>
              </a:rPr>
              <a:t>PhysicalRDD</a:t>
            </a:r>
            <a:r>
              <a:rPr lang="en-US" sz="1500" dirty="0">
                <a:solidFill>
                  <a:srgbClr val="666666"/>
                </a:solidFill>
                <a:latin typeface="Consolas" charset="0"/>
                <a:ea typeface="Consolas" charset="0"/>
                <a:cs typeface="Consolas" charset="0"/>
              </a:rPr>
              <a:t> [first_name#17,last_name#18,gender#19,age#20L], </a:t>
            </a:r>
            <a:r>
              <a:rPr lang="en-US" sz="1500" dirty="0" err="1">
                <a:solidFill>
                  <a:srgbClr val="666666"/>
                </a:solidFill>
                <a:latin typeface="Consolas" charset="0"/>
                <a:ea typeface="Consolas" charset="0"/>
                <a:cs typeface="Consolas" charset="0"/>
              </a:rPr>
              <a:t>MapPartitionsRDD</a:t>
            </a:r>
            <a:r>
              <a:rPr lang="en-US" sz="1500" dirty="0">
                <a:solidFill>
                  <a:srgbClr val="666666"/>
                </a:solidFill>
                <a:latin typeface="Consolas" charset="0"/>
                <a:ea typeface="Consolas" charset="0"/>
                <a:cs typeface="Consolas" charset="0"/>
              </a:rPr>
              <a:t>[41] at </a:t>
            </a:r>
            <a:r>
              <a:rPr lang="en-US" sz="1500" dirty="0" err="1">
                <a:solidFill>
                  <a:srgbClr val="666666"/>
                </a:solidFill>
                <a:latin typeface="Consolas" charset="0"/>
                <a:ea typeface="Consolas" charset="0"/>
                <a:cs typeface="Consolas" charset="0"/>
              </a:rPr>
              <a:t>applySchemaToPythonRDD</a:t>
            </a:r>
            <a:r>
              <a:rPr lang="en-US" sz="1500" dirty="0">
                <a:solidFill>
                  <a:srgbClr val="666666"/>
                </a:solidFill>
                <a:latin typeface="Consolas" charset="0"/>
                <a:ea typeface="Consolas" charset="0"/>
                <a:cs typeface="Consolas" charset="0"/>
              </a:rPr>
              <a:t> at </a:t>
            </a:r>
            <a:r>
              <a:rPr lang="en-US" sz="1500" dirty="0" err="1">
                <a:solidFill>
                  <a:srgbClr val="666666"/>
                </a:solidFill>
                <a:latin typeface="Consolas" charset="0"/>
                <a:ea typeface="Consolas" charset="0"/>
                <a:cs typeface="Consolas" charset="0"/>
              </a:rPr>
              <a:t>NativeMethodAccessorImpl.java</a:t>
            </a:r>
            <a:r>
              <a:rPr lang="en-US" sz="1500" dirty="0">
                <a:solidFill>
                  <a:srgbClr val="666666"/>
                </a:solidFill>
                <a:latin typeface="Consolas" charset="0"/>
                <a:ea typeface="Consolas" charset="0"/>
                <a:cs typeface="Consolas" charset="0"/>
              </a:rPr>
              <a:t>:-2</a:t>
            </a:r>
          </a:p>
          <a:p>
            <a:r>
              <a:rPr lang="en-US" sz="1500" dirty="0">
                <a:solidFill>
                  <a:srgbClr val="666666"/>
                </a:solidFill>
                <a:latin typeface="Consolas" charset="0"/>
                <a:ea typeface="Consolas" charset="0"/>
                <a:cs typeface="Consolas" charset="0"/>
              </a:rPr>
              <a:t> Exchange (</a:t>
            </a:r>
            <a:r>
              <a:rPr lang="en-US" sz="1500" dirty="0" err="1">
                <a:solidFill>
                  <a:srgbClr val="666666"/>
                </a:solidFill>
                <a:latin typeface="Consolas" charset="0"/>
                <a:ea typeface="Consolas" charset="0"/>
                <a:cs typeface="Consolas" charset="0"/>
              </a:rPr>
              <a:t>HashPartitioning</a:t>
            </a:r>
            <a:r>
              <a:rPr lang="en-US" sz="1500" dirty="0">
                <a:solidFill>
                  <a:srgbClr val="666666"/>
                </a:solidFill>
                <a:latin typeface="Consolas" charset="0"/>
                <a:ea typeface="Consolas" charset="0"/>
                <a:cs typeface="Consolas" charset="0"/>
              </a:rPr>
              <a:t> 200)</a:t>
            </a:r>
          </a:p>
          <a:p>
            <a:r>
              <a:rPr lang="en-US" sz="1500" dirty="0">
                <a:solidFill>
                  <a:srgbClr val="666666"/>
                </a:solidFill>
                <a:latin typeface="Consolas" charset="0"/>
                <a:ea typeface="Consolas" charset="0"/>
                <a:cs typeface="Consolas" charset="0"/>
              </a:rPr>
              <a:t>  </a:t>
            </a:r>
            <a:r>
              <a:rPr lang="en-US" sz="1500" dirty="0" err="1">
                <a:solidFill>
                  <a:srgbClr val="666666"/>
                </a:solidFill>
                <a:latin typeface="Consolas" charset="0"/>
                <a:ea typeface="Consolas" charset="0"/>
                <a:cs typeface="Consolas" charset="0"/>
              </a:rPr>
              <a:t>PhysicalRDD</a:t>
            </a:r>
            <a:r>
              <a:rPr lang="en-US" sz="1500" dirty="0">
                <a:solidFill>
                  <a:srgbClr val="666666"/>
                </a:solidFill>
                <a:latin typeface="Consolas" charset="0"/>
                <a:ea typeface="Consolas" charset="0"/>
                <a:cs typeface="Consolas" charset="0"/>
              </a:rPr>
              <a:t> [firstName#35,lastName#36,medium#37], </a:t>
            </a:r>
            <a:r>
              <a:rPr lang="en-US" sz="1500" dirty="0" err="1">
                <a:solidFill>
                  <a:srgbClr val="666666"/>
                </a:solidFill>
                <a:latin typeface="Consolas" charset="0"/>
                <a:ea typeface="Consolas" charset="0"/>
                <a:cs typeface="Consolas" charset="0"/>
              </a:rPr>
              <a:t>MapPartitionsRDD</a:t>
            </a:r>
            <a:r>
              <a:rPr lang="en-US" sz="1500" dirty="0">
                <a:solidFill>
                  <a:srgbClr val="666666"/>
                </a:solidFill>
                <a:latin typeface="Consolas" charset="0"/>
                <a:ea typeface="Consolas" charset="0"/>
                <a:cs typeface="Consolas" charset="0"/>
              </a:rPr>
              <a:t>[118] at </a:t>
            </a:r>
            <a:r>
              <a:rPr lang="en-US" sz="1500" dirty="0" err="1">
                <a:solidFill>
                  <a:srgbClr val="666666"/>
                </a:solidFill>
                <a:latin typeface="Consolas" charset="0"/>
                <a:ea typeface="Consolas" charset="0"/>
                <a:cs typeface="Consolas" charset="0"/>
              </a:rPr>
              <a:t>executedPlan</a:t>
            </a:r>
            <a:r>
              <a:rPr lang="en-US" sz="1500" dirty="0">
                <a:solidFill>
                  <a:srgbClr val="666666"/>
                </a:solidFill>
                <a:latin typeface="Consolas" charset="0"/>
                <a:ea typeface="Consolas" charset="0"/>
                <a:cs typeface="Consolas" charset="0"/>
              </a:rPr>
              <a:t> at </a:t>
            </a:r>
            <a:r>
              <a:rPr lang="en-US" sz="1500" dirty="0" err="1">
                <a:solidFill>
                  <a:srgbClr val="666666"/>
                </a:solidFill>
                <a:latin typeface="Consolas" charset="0"/>
                <a:ea typeface="Consolas" charset="0"/>
                <a:cs typeface="Consolas" charset="0"/>
              </a:rPr>
              <a:t>NativeMethodAccessorImpl.java</a:t>
            </a:r>
            <a:r>
              <a:rPr lang="en-US" sz="1500" dirty="0">
                <a:solidFill>
                  <a:srgbClr val="666666"/>
                </a:solidFill>
                <a:latin typeface="Consolas" charset="0"/>
                <a:ea typeface="Consolas" charset="0"/>
                <a:cs typeface="Consolas" charset="0"/>
              </a:rPr>
              <a:t>:-2</a:t>
            </a:r>
          </a:p>
          <a:p>
            <a:endParaRPr lang="en-US" sz="1500" dirty="0">
              <a:solidFill>
                <a:srgbClr val="666666"/>
              </a:solidFill>
              <a:latin typeface="Consolas" charset="0"/>
              <a:ea typeface="Consolas" charset="0"/>
              <a:cs typeface="Consolas"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015560" y="2795253"/>
            <a:ext cx="315382" cy="464575"/>
          </a:xfrm>
          <a:prstGeom prst="rect">
            <a:avLst/>
          </a:prstGeom>
        </p:spPr>
      </p:pic>
    </p:spTree>
    <p:extLst>
      <p:ext uri="{BB962C8B-B14F-4D97-AF65-F5344CB8AC3E}">
        <p14:creationId xmlns:p14="http://schemas.microsoft.com/office/powerpoint/2010/main" val="403933910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397000" y="1143000"/>
            <a:ext cx="9372600" cy="5525584"/>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187508" y="160866"/>
            <a:ext cx="8351923" cy="867833"/>
          </a:xfrm>
        </p:spPr>
        <p:txBody>
          <a:bodyPr>
            <a:normAutofit fontScale="90000"/>
          </a:bodyPr>
          <a:lstStyle/>
          <a:p>
            <a:r>
              <a:rPr lang="en-US" dirty="0"/>
              <a:t>Explain</a:t>
            </a:r>
          </a:p>
        </p:txBody>
      </p:sp>
      <p:sp>
        <p:nvSpPr>
          <p:cNvPr id="3" name="Content Placeholder 2"/>
          <p:cNvSpPr>
            <a:spLocks noGrp="1"/>
          </p:cNvSpPr>
          <p:nvPr>
            <p:ph idx="1"/>
          </p:nvPr>
        </p:nvSpPr>
        <p:spPr>
          <a:xfrm>
            <a:off x="2987831" y="877837"/>
            <a:ext cx="6190939" cy="588559"/>
          </a:xfrm>
        </p:spPr>
        <p:txBody>
          <a:bodyPr>
            <a:normAutofit fontScale="55000" lnSpcReduction="20000"/>
          </a:bodyPr>
          <a:lstStyle/>
          <a:p>
            <a:r>
              <a:rPr lang="en-US" dirty="0">
                <a:solidFill>
                  <a:schemeClr val="tx1"/>
                </a:solidFill>
                <a:latin typeface="Source Sans Pro Light" charset="0"/>
                <a:ea typeface="Source Sans Pro Light" charset="0"/>
                <a:cs typeface="Source Sans Pro Light" charset="0"/>
              </a:rPr>
              <a:t>Pass </a:t>
            </a:r>
            <a:r>
              <a:rPr lang="en-US" dirty="0">
                <a:solidFill>
                  <a:srgbClr val="0070C0"/>
                </a:solidFill>
                <a:latin typeface="Consolas" charset="0"/>
                <a:ea typeface="Consolas" charset="0"/>
                <a:cs typeface="Consolas" charset="0"/>
              </a:rPr>
              <a:t>true</a:t>
            </a:r>
            <a:r>
              <a:rPr lang="en-US" dirty="0">
                <a:solidFill>
                  <a:schemeClr val="tx1"/>
                </a:solidFill>
                <a:latin typeface="Source Sans Pro Light" charset="0"/>
                <a:ea typeface="Source Sans Pro Light" charset="0"/>
                <a:cs typeface="Source Sans Pro Light" charset="0"/>
              </a:rPr>
              <a:t> to get a more detailed query plan.</a:t>
            </a:r>
          </a:p>
        </p:txBody>
      </p:sp>
      <p:sp>
        <p:nvSpPr>
          <p:cNvPr id="5" name="Rectangle 4"/>
          <p:cNvSpPr/>
          <p:nvPr/>
        </p:nvSpPr>
        <p:spPr>
          <a:xfrm>
            <a:off x="1663701" y="1371602"/>
            <a:ext cx="8880475" cy="5010151"/>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sz="1000" dirty="0" err="1">
                <a:solidFill>
                  <a:schemeClr val="tx1"/>
                </a:solidFill>
                <a:latin typeface="Consolas" charset="0"/>
                <a:ea typeface="Consolas" charset="0"/>
                <a:cs typeface="Consolas" charset="0"/>
              </a:rPr>
              <a:t>scala</a:t>
            </a:r>
            <a:r>
              <a:rPr lang="en-US" sz="1000" dirty="0">
                <a:solidFill>
                  <a:schemeClr val="tx1"/>
                </a:solidFill>
                <a:latin typeface="Consolas" charset="0"/>
                <a:ea typeface="Consolas" charset="0"/>
                <a:cs typeface="Consolas" charset="0"/>
              </a:rPr>
              <a:t>&gt; </a:t>
            </a:r>
            <a:r>
              <a:rPr lang="en-US" sz="1000" b="1" dirty="0" err="1">
                <a:solidFill>
                  <a:schemeClr val="tx1"/>
                </a:solidFill>
                <a:latin typeface="Consolas" charset="0"/>
                <a:ea typeface="Consolas" charset="0"/>
                <a:cs typeface="Consolas" charset="0"/>
              </a:rPr>
              <a:t>df.join</a:t>
            </a:r>
            <a:r>
              <a:rPr lang="en-US" sz="1000" b="1" dirty="0">
                <a:solidFill>
                  <a:schemeClr val="tx1"/>
                </a:solidFill>
                <a:latin typeface="Consolas" charset="0"/>
                <a:ea typeface="Consolas" charset="0"/>
                <a:cs typeface="Consolas" charset="0"/>
              </a:rPr>
              <a:t>(df2, lower(</a:t>
            </a:r>
            <a:r>
              <a:rPr lang="en-US" sz="1000" b="1" dirty="0" err="1">
                <a:solidFill>
                  <a:schemeClr val="tx1"/>
                </a:solidFill>
                <a:latin typeface="Consolas" charset="0"/>
                <a:ea typeface="Consolas" charset="0"/>
                <a:cs typeface="Consolas" charset="0"/>
              </a:rPr>
              <a:t>df</a:t>
            </a:r>
            <a:r>
              <a:rPr lang="en-US" sz="1000" b="1" dirty="0">
                <a:solidFill>
                  <a:schemeClr val="tx1"/>
                </a:solidFill>
                <a:latin typeface="Consolas" charset="0"/>
                <a:ea typeface="Consolas" charset="0"/>
                <a:cs typeface="Consolas" charset="0"/>
              </a:rPr>
              <a:t>(</a:t>
            </a:r>
            <a:r>
              <a:rPr lang="en-US" sz="1000" b="1" dirty="0">
                <a:solidFill>
                  <a:srgbClr val="0070C0"/>
                </a:solidFill>
                <a:latin typeface="Consolas" charset="0"/>
                <a:ea typeface="Consolas" charset="0"/>
                <a:cs typeface="Consolas" charset="0"/>
              </a:rPr>
              <a:t>"</a:t>
            </a:r>
            <a:r>
              <a:rPr lang="en-US" sz="1000" b="1" dirty="0" err="1">
                <a:solidFill>
                  <a:srgbClr val="0070C0"/>
                </a:solidFill>
                <a:latin typeface="Consolas" charset="0"/>
                <a:ea typeface="Consolas" charset="0"/>
                <a:cs typeface="Consolas" charset="0"/>
              </a:rPr>
              <a:t>firstName</a:t>
            </a:r>
            <a:r>
              <a:rPr lang="en-US" sz="1000" b="1" dirty="0">
                <a:solidFill>
                  <a:srgbClr val="0070C0"/>
                </a:solidFill>
                <a:latin typeface="Consolas" charset="0"/>
                <a:ea typeface="Consolas" charset="0"/>
                <a:cs typeface="Consolas" charset="0"/>
              </a:rPr>
              <a:t>"</a:t>
            </a:r>
            <a:r>
              <a:rPr lang="en-US" sz="1000" b="1" dirty="0">
                <a:solidFill>
                  <a:schemeClr val="tx1"/>
                </a:solidFill>
                <a:latin typeface="Consolas" charset="0"/>
                <a:ea typeface="Consolas" charset="0"/>
                <a:cs typeface="Consolas" charset="0"/>
              </a:rPr>
              <a:t>)) === lower(df2(</a:t>
            </a:r>
            <a:r>
              <a:rPr lang="en-US" sz="1000" b="1" dirty="0">
                <a:solidFill>
                  <a:srgbClr val="0070C0"/>
                </a:solidFill>
                <a:latin typeface="Consolas" charset="0"/>
                <a:ea typeface="Consolas" charset="0"/>
                <a:cs typeface="Consolas" charset="0"/>
              </a:rPr>
              <a:t>"</a:t>
            </a:r>
            <a:r>
              <a:rPr lang="en-US" sz="1000" b="1" dirty="0" err="1">
                <a:solidFill>
                  <a:srgbClr val="0070C0"/>
                </a:solidFill>
                <a:latin typeface="Consolas" charset="0"/>
                <a:ea typeface="Consolas" charset="0"/>
                <a:cs typeface="Consolas" charset="0"/>
              </a:rPr>
              <a:t>firstName</a:t>
            </a:r>
            <a:r>
              <a:rPr lang="en-US" sz="1000" b="1" dirty="0">
                <a:solidFill>
                  <a:srgbClr val="0070C0"/>
                </a:solidFill>
                <a:latin typeface="Consolas" charset="0"/>
                <a:ea typeface="Consolas" charset="0"/>
                <a:cs typeface="Consolas" charset="0"/>
              </a:rPr>
              <a:t>"</a:t>
            </a:r>
            <a:r>
              <a:rPr lang="en-US" sz="1000" b="1" dirty="0">
                <a:solidFill>
                  <a:schemeClr val="tx1"/>
                </a:solidFill>
                <a:latin typeface="Consolas" charset="0"/>
                <a:ea typeface="Consolas" charset="0"/>
                <a:cs typeface="Consolas" charset="0"/>
              </a:rPr>
              <a:t>))).explain(</a:t>
            </a:r>
            <a:r>
              <a:rPr lang="en-US" sz="1000" b="1" dirty="0">
                <a:solidFill>
                  <a:srgbClr val="8A2804"/>
                </a:solidFill>
                <a:latin typeface="Consolas" charset="0"/>
                <a:ea typeface="Consolas" charset="0"/>
                <a:cs typeface="Consolas" charset="0"/>
              </a:rPr>
              <a:t>true</a:t>
            </a:r>
            <a:r>
              <a:rPr lang="en-US" sz="1000" b="1" dirty="0">
                <a:solidFill>
                  <a:schemeClr val="tx1"/>
                </a:solidFill>
                <a:latin typeface="Consolas" charset="0"/>
                <a:ea typeface="Consolas" charset="0"/>
                <a:cs typeface="Consolas" charset="0"/>
              </a:rPr>
              <a:t>)</a:t>
            </a:r>
          </a:p>
          <a:p>
            <a:r>
              <a:rPr lang="en-US" sz="1000" dirty="0">
                <a:solidFill>
                  <a:schemeClr val="tx1"/>
                </a:solidFill>
                <a:latin typeface="Consolas" charset="0"/>
                <a:ea typeface="Consolas" charset="0"/>
                <a:cs typeface="Consolas" charset="0"/>
              </a:rPr>
              <a:t>== Parsed Logical Plan ==</a:t>
            </a:r>
          </a:p>
          <a:p>
            <a:r>
              <a:rPr lang="en-US" sz="1000" dirty="0">
                <a:solidFill>
                  <a:schemeClr val="tx1"/>
                </a:solidFill>
                <a:latin typeface="Consolas" charset="0"/>
                <a:ea typeface="Consolas" charset="0"/>
                <a:cs typeface="Consolas" charset="0"/>
              </a:rPr>
              <a:t>Join Inner, Some((Lower(firstName#1) = Lower(firstName#13)))</a:t>
            </a:r>
          </a:p>
          <a:p>
            <a:r>
              <a:rPr lang="en-US" sz="1000" dirty="0">
                <a:solidFill>
                  <a:schemeClr val="tx1"/>
                </a:solidFill>
                <a:latin typeface="Consolas" charset="0"/>
                <a:ea typeface="Consolas" charset="0"/>
                <a:cs typeface="Consolas" charset="0"/>
              </a:rPr>
              <a:t> Relation[birthDate#0,firstName#1,gender#2,lastName#3,middleName#4,salary#5L,ssn#6] org.apache.spark.sql.json.JSONRelation@7cbb370e</a:t>
            </a:r>
          </a:p>
          <a:p>
            <a:r>
              <a:rPr lang="en-US" sz="1000" dirty="0">
                <a:solidFill>
                  <a:schemeClr val="tx1"/>
                </a:solidFill>
                <a:latin typeface="Consolas" charset="0"/>
                <a:ea typeface="Consolas" charset="0"/>
                <a:cs typeface="Consolas" charset="0"/>
              </a:rPr>
              <a:t> Relation[firstName#13,lastName#14,medium#15] org.apache.spark.sql.json.JSONRelation@e5203d2c</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Analyzed Logical Plan ==</a:t>
            </a:r>
          </a:p>
          <a:p>
            <a:r>
              <a:rPr lang="en-US" sz="1000" dirty="0" err="1">
                <a:solidFill>
                  <a:schemeClr val="tx1"/>
                </a:solidFill>
                <a:latin typeface="Consolas" charset="0"/>
                <a:ea typeface="Consolas" charset="0"/>
                <a:cs typeface="Consolas" charset="0"/>
              </a:rPr>
              <a:t>birthDate</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firstName</a:t>
            </a:r>
            <a:r>
              <a:rPr lang="en-US" sz="1000" dirty="0">
                <a:solidFill>
                  <a:schemeClr val="tx1"/>
                </a:solidFill>
                <a:latin typeface="Consolas" charset="0"/>
                <a:ea typeface="Consolas" charset="0"/>
                <a:cs typeface="Consolas" charset="0"/>
              </a:rPr>
              <a:t>: string, gender: string, </a:t>
            </a:r>
            <a:r>
              <a:rPr lang="en-US" sz="1000" dirty="0" err="1">
                <a:solidFill>
                  <a:schemeClr val="tx1"/>
                </a:solidFill>
                <a:latin typeface="Consolas" charset="0"/>
                <a:ea typeface="Consolas" charset="0"/>
                <a:cs typeface="Consolas" charset="0"/>
              </a:rPr>
              <a:t>lastName</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middleName</a:t>
            </a:r>
            <a:r>
              <a:rPr lang="en-US" sz="1000" dirty="0">
                <a:solidFill>
                  <a:schemeClr val="tx1"/>
                </a:solidFill>
                <a:latin typeface="Consolas" charset="0"/>
                <a:ea typeface="Consolas" charset="0"/>
                <a:cs typeface="Consolas" charset="0"/>
              </a:rPr>
              <a:t>: string, salary: </a:t>
            </a:r>
            <a:r>
              <a:rPr lang="en-US" sz="1000" dirty="0" err="1">
                <a:solidFill>
                  <a:schemeClr val="tx1"/>
                </a:solidFill>
                <a:latin typeface="Consolas" charset="0"/>
                <a:ea typeface="Consolas" charset="0"/>
                <a:cs typeface="Consolas" charset="0"/>
              </a:rPr>
              <a:t>bigint</a:t>
            </a:r>
            <a:r>
              <a:rPr lang="en-US" sz="1000" dirty="0">
                <a:solidFill>
                  <a:schemeClr val="tx1"/>
                </a:solidFill>
                <a:latin typeface="Consolas" charset="0"/>
                <a:ea typeface="Consolas" charset="0"/>
                <a:cs typeface="Consolas" charset="0"/>
              </a:rPr>
              <a:t>, </a:t>
            </a:r>
            <a:r>
              <a:rPr lang="en-US" sz="1000" dirty="0" err="1">
                <a:solidFill>
                  <a:schemeClr val="tx1"/>
                </a:solidFill>
                <a:latin typeface="Consolas" charset="0"/>
                <a:ea typeface="Consolas" charset="0"/>
                <a:cs typeface="Consolas" charset="0"/>
              </a:rPr>
              <a:t>ssn</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firstName</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lastName</a:t>
            </a:r>
            <a:r>
              <a:rPr lang="en-US" sz="1000" dirty="0">
                <a:solidFill>
                  <a:schemeClr val="tx1"/>
                </a:solidFill>
                <a:latin typeface="Consolas" charset="0"/>
                <a:ea typeface="Consolas" charset="0"/>
                <a:cs typeface="Consolas" charset="0"/>
              </a:rPr>
              <a:t>: string, medium: string</a:t>
            </a:r>
          </a:p>
          <a:p>
            <a:r>
              <a:rPr lang="en-US" sz="1000" dirty="0">
                <a:solidFill>
                  <a:schemeClr val="tx1"/>
                </a:solidFill>
                <a:latin typeface="Consolas" charset="0"/>
                <a:ea typeface="Consolas" charset="0"/>
                <a:cs typeface="Consolas" charset="0"/>
              </a:rPr>
              <a:t>Join Inner, Some((Lower(firstName#1) = Lower(firstName#13)))</a:t>
            </a:r>
          </a:p>
          <a:p>
            <a:r>
              <a:rPr lang="en-US" sz="1000" dirty="0">
                <a:solidFill>
                  <a:schemeClr val="tx1"/>
                </a:solidFill>
                <a:latin typeface="Consolas" charset="0"/>
                <a:ea typeface="Consolas" charset="0"/>
                <a:cs typeface="Consolas" charset="0"/>
              </a:rPr>
              <a:t> Relation[birthDate#0,firstName#1,gender#2,lastName#3,middleName#4,salary#5L,ssn#6] org.apache.spark.sql.json.JSONRelation@7cbb370e</a:t>
            </a:r>
          </a:p>
          <a:p>
            <a:r>
              <a:rPr lang="en-US" sz="1000" dirty="0">
                <a:solidFill>
                  <a:schemeClr val="tx1"/>
                </a:solidFill>
                <a:latin typeface="Consolas" charset="0"/>
                <a:ea typeface="Consolas" charset="0"/>
                <a:cs typeface="Consolas" charset="0"/>
              </a:rPr>
              <a:t> Relation[firstName#13,lastName#14,medium#15] org.apache.spark.sql.json.JSONRelation@e5203d2c</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Optimized Logical Plan ==</a:t>
            </a:r>
          </a:p>
          <a:p>
            <a:r>
              <a:rPr lang="en-US" sz="1000" dirty="0">
                <a:solidFill>
                  <a:schemeClr val="tx1"/>
                </a:solidFill>
                <a:latin typeface="Consolas" charset="0"/>
                <a:ea typeface="Consolas" charset="0"/>
                <a:cs typeface="Consolas" charset="0"/>
              </a:rPr>
              <a:t>Join Inner, Some((Lower(firstName#1) = Lower(firstName#13)))</a:t>
            </a:r>
          </a:p>
          <a:p>
            <a:r>
              <a:rPr lang="en-US" sz="1000" dirty="0">
                <a:solidFill>
                  <a:schemeClr val="tx1"/>
                </a:solidFill>
                <a:latin typeface="Consolas" charset="0"/>
                <a:ea typeface="Consolas" charset="0"/>
                <a:cs typeface="Consolas" charset="0"/>
              </a:rPr>
              <a:t> Relation[birthDate#0,firstName#1,gender#2,lastName#3,middleName#4,salary#5L,ssn#6] org.apache.spark.sql.json.JSONRelation@7cbb370e</a:t>
            </a:r>
          </a:p>
          <a:p>
            <a:r>
              <a:rPr lang="en-US" sz="1000" dirty="0">
                <a:solidFill>
                  <a:schemeClr val="tx1"/>
                </a:solidFill>
                <a:latin typeface="Consolas" charset="0"/>
                <a:ea typeface="Consolas" charset="0"/>
                <a:cs typeface="Consolas" charset="0"/>
              </a:rPr>
              <a:t> Relation[firstName#13,lastName#14,medium#15] org.apache.spark.sql.json.JSONRelation@e5203d2c</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Physical Plan ==</a:t>
            </a:r>
          </a:p>
          <a:p>
            <a:r>
              <a:rPr lang="en-US" sz="1000" dirty="0" err="1">
                <a:solidFill>
                  <a:schemeClr val="tx1"/>
                </a:solidFill>
                <a:latin typeface="Consolas" charset="0"/>
                <a:ea typeface="Consolas" charset="0"/>
                <a:cs typeface="Consolas" charset="0"/>
              </a:rPr>
              <a:t>ShuffledHashJoin</a:t>
            </a:r>
            <a:r>
              <a:rPr lang="en-US" sz="1000" dirty="0">
                <a:solidFill>
                  <a:schemeClr val="tx1"/>
                </a:solidFill>
                <a:latin typeface="Consolas" charset="0"/>
                <a:ea typeface="Consolas" charset="0"/>
                <a:cs typeface="Consolas" charset="0"/>
              </a:rPr>
              <a:t> [Lower(firstName#1)], [Lower(firstName#13)], </a:t>
            </a:r>
            <a:r>
              <a:rPr lang="en-US" sz="1000" dirty="0" err="1">
                <a:solidFill>
                  <a:schemeClr val="tx1"/>
                </a:solidFill>
                <a:latin typeface="Consolas" charset="0"/>
                <a:ea typeface="Consolas" charset="0"/>
                <a:cs typeface="Consolas" charset="0"/>
              </a:rPr>
              <a:t>BuildRight</a:t>
            </a:r>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Exchange (</a:t>
            </a:r>
            <a:r>
              <a:rPr lang="en-US" sz="1000" dirty="0" err="1">
                <a:solidFill>
                  <a:schemeClr val="tx1"/>
                </a:solidFill>
                <a:latin typeface="Consolas" charset="0"/>
                <a:ea typeface="Consolas" charset="0"/>
                <a:cs typeface="Consolas" charset="0"/>
              </a:rPr>
              <a:t>HashPartitioning</a:t>
            </a:r>
            <a:r>
              <a:rPr lang="en-US" sz="1000" dirty="0">
                <a:solidFill>
                  <a:schemeClr val="tx1"/>
                </a:solidFill>
                <a:latin typeface="Consolas" charset="0"/>
                <a:ea typeface="Consolas" charset="0"/>
                <a:cs typeface="Consolas" charset="0"/>
              </a:rPr>
              <a:t> 200)</a:t>
            </a:r>
          </a:p>
          <a:p>
            <a:r>
              <a:rPr lang="en-US" sz="1000" dirty="0">
                <a:solidFill>
                  <a:schemeClr val="tx1"/>
                </a:solidFill>
                <a:latin typeface="Consolas" charset="0"/>
                <a:ea typeface="Consolas" charset="0"/>
                <a:cs typeface="Consolas" charset="0"/>
              </a:rPr>
              <a:t>  </a:t>
            </a:r>
            <a:r>
              <a:rPr lang="en-US" sz="1000" dirty="0" err="1">
                <a:solidFill>
                  <a:schemeClr val="tx1"/>
                </a:solidFill>
                <a:latin typeface="Consolas" charset="0"/>
                <a:ea typeface="Consolas" charset="0"/>
                <a:cs typeface="Consolas" charset="0"/>
              </a:rPr>
              <a:t>PhysicalRDD</a:t>
            </a:r>
            <a:r>
              <a:rPr lang="en-US" sz="1000" dirty="0">
                <a:solidFill>
                  <a:schemeClr val="tx1"/>
                </a:solidFill>
                <a:latin typeface="Consolas" charset="0"/>
                <a:ea typeface="Consolas" charset="0"/>
                <a:cs typeface="Consolas" charset="0"/>
              </a:rPr>
              <a:t> [birthDate#0,firstName#1,gender#2,lastName#3,middleName#4,salary#5L,ssn#6], </a:t>
            </a:r>
            <a:r>
              <a:rPr lang="en-US" sz="1000" dirty="0" err="1">
                <a:solidFill>
                  <a:schemeClr val="tx1"/>
                </a:solidFill>
                <a:latin typeface="Consolas" charset="0"/>
                <a:ea typeface="Consolas" charset="0"/>
                <a:cs typeface="Consolas" charset="0"/>
              </a:rPr>
              <a:t>MapPartitionsRDD</a:t>
            </a:r>
            <a:r>
              <a:rPr lang="en-US" sz="1000" dirty="0">
                <a:solidFill>
                  <a:schemeClr val="tx1"/>
                </a:solidFill>
                <a:latin typeface="Consolas" charset="0"/>
                <a:ea typeface="Consolas" charset="0"/>
                <a:cs typeface="Consolas" charset="0"/>
              </a:rPr>
              <a:t>[40] at explain at &lt;console&gt;:25</a:t>
            </a:r>
          </a:p>
          <a:p>
            <a:r>
              <a:rPr lang="en-US" sz="1000" dirty="0">
                <a:solidFill>
                  <a:schemeClr val="tx1"/>
                </a:solidFill>
                <a:latin typeface="Consolas" charset="0"/>
                <a:ea typeface="Consolas" charset="0"/>
                <a:cs typeface="Consolas" charset="0"/>
              </a:rPr>
              <a:t> Exchange (</a:t>
            </a:r>
            <a:r>
              <a:rPr lang="en-US" sz="1000" dirty="0" err="1">
                <a:solidFill>
                  <a:schemeClr val="tx1"/>
                </a:solidFill>
                <a:latin typeface="Consolas" charset="0"/>
                <a:ea typeface="Consolas" charset="0"/>
                <a:cs typeface="Consolas" charset="0"/>
              </a:rPr>
              <a:t>HashPartitioning</a:t>
            </a:r>
            <a:r>
              <a:rPr lang="en-US" sz="1000" dirty="0">
                <a:solidFill>
                  <a:schemeClr val="tx1"/>
                </a:solidFill>
                <a:latin typeface="Consolas" charset="0"/>
                <a:ea typeface="Consolas" charset="0"/>
                <a:cs typeface="Consolas" charset="0"/>
              </a:rPr>
              <a:t> 200)</a:t>
            </a:r>
          </a:p>
          <a:p>
            <a:r>
              <a:rPr lang="en-US" sz="1000" dirty="0">
                <a:solidFill>
                  <a:schemeClr val="tx1"/>
                </a:solidFill>
                <a:latin typeface="Consolas" charset="0"/>
                <a:ea typeface="Consolas" charset="0"/>
                <a:cs typeface="Consolas" charset="0"/>
              </a:rPr>
              <a:t>  </a:t>
            </a:r>
            <a:r>
              <a:rPr lang="en-US" sz="1000" dirty="0" err="1">
                <a:solidFill>
                  <a:schemeClr val="tx1"/>
                </a:solidFill>
                <a:latin typeface="Consolas" charset="0"/>
                <a:ea typeface="Consolas" charset="0"/>
                <a:cs typeface="Consolas" charset="0"/>
              </a:rPr>
              <a:t>PhysicalRDD</a:t>
            </a:r>
            <a:r>
              <a:rPr lang="en-US" sz="1000" dirty="0">
                <a:solidFill>
                  <a:schemeClr val="tx1"/>
                </a:solidFill>
                <a:latin typeface="Consolas" charset="0"/>
                <a:ea typeface="Consolas" charset="0"/>
                <a:cs typeface="Consolas" charset="0"/>
              </a:rPr>
              <a:t> [firstName#13,lastName#14,medium#15], </a:t>
            </a:r>
            <a:r>
              <a:rPr lang="en-US" sz="1000" dirty="0" err="1">
                <a:solidFill>
                  <a:schemeClr val="tx1"/>
                </a:solidFill>
                <a:latin typeface="Consolas" charset="0"/>
                <a:ea typeface="Consolas" charset="0"/>
                <a:cs typeface="Consolas" charset="0"/>
              </a:rPr>
              <a:t>MapPartitionsRDD</a:t>
            </a:r>
            <a:r>
              <a:rPr lang="en-US" sz="1000" dirty="0">
                <a:solidFill>
                  <a:schemeClr val="tx1"/>
                </a:solidFill>
                <a:latin typeface="Consolas" charset="0"/>
                <a:ea typeface="Consolas" charset="0"/>
                <a:cs typeface="Consolas" charset="0"/>
              </a:rPr>
              <a:t>[43] at explain at &lt;console&gt;:25</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Code Generation: false</a:t>
            </a:r>
          </a:p>
          <a:p>
            <a:r>
              <a:rPr lang="en-US" sz="1000" dirty="0">
                <a:solidFill>
                  <a:schemeClr val="tx1"/>
                </a:solidFill>
                <a:latin typeface="Consolas" charset="0"/>
                <a:ea typeface="Consolas" charset="0"/>
                <a:cs typeface="Consolas" charset="0"/>
              </a:rPr>
              <a:t>== RDD ==</a:t>
            </a:r>
          </a:p>
          <a:p>
            <a:endParaRPr lang="en-US" sz="1000" dirty="0">
              <a:solidFill>
                <a:schemeClr val="tx1"/>
              </a:solidFill>
              <a:latin typeface="Consolas" charset="0"/>
              <a:ea typeface="Consolas" charset="0"/>
              <a:cs typeface="Consolas" charset="0"/>
            </a:endParaRPr>
          </a:p>
        </p:txBody>
      </p:sp>
    </p:spTree>
    <p:extLst>
      <p:ext uri="{BB962C8B-B14F-4D97-AF65-F5344CB8AC3E}">
        <p14:creationId xmlns:p14="http://schemas.microsoft.com/office/powerpoint/2010/main" val="422723304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000" dirty="0"/>
              <a:t>DataFrame limitations</a:t>
            </a:r>
          </a:p>
        </p:txBody>
      </p:sp>
      <p:sp>
        <p:nvSpPr>
          <p:cNvPr id="5" name="Content Placeholder 2"/>
          <p:cNvSpPr>
            <a:spLocks noGrp="1"/>
          </p:cNvSpPr>
          <p:nvPr>
            <p:ph idx="1"/>
          </p:nvPr>
        </p:nvSpPr>
        <p:spPr>
          <a:xfrm>
            <a:off x="540378" y="1461711"/>
            <a:ext cx="10664651" cy="4737943"/>
          </a:xfrm>
        </p:spPr>
        <p:txBody>
          <a:bodyPr>
            <a:noAutofit/>
          </a:bodyPr>
          <a:lstStyle/>
          <a:p>
            <a:pPr marL="457189" indent="-457189"/>
            <a:r>
              <a:rPr lang="en-US" sz="2900" dirty="0"/>
              <a:t>Catalyst does not automatically repartition </a:t>
            </a:r>
            <a:r>
              <a:rPr lang="en-US" sz="2900" dirty="0" err="1"/>
              <a:t>DataFrames</a:t>
            </a:r>
            <a:r>
              <a:rPr lang="en-US" sz="2900" dirty="0"/>
              <a:t> optimally</a:t>
            </a:r>
          </a:p>
          <a:p>
            <a:pPr marL="457189" indent="-457189"/>
            <a:endParaRPr lang="en-US" sz="2900" dirty="0">
              <a:solidFill>
                <a:schemeClr val="tx1"/>
              </a:solidFill>
              <a:latin typeface="Source Sans Pro Light" charset="0"/>
              <a:ea typeface="Source Sans Pro Light" charset="0"/>
              <a:cs typeface="Source Sans Pro Light" charset="0"/>
            </a:endParaRPr>
          </a:p>
          <a:p>
            <a:pPr marL="457189" indent="-457189"/>
            <a:r>
              <a:rPr lang="en-US" sz="2900" dirty="0">
                <a:solidFill>
                  <a:schemeClr val="tx1"/>
                </a:solidFill>
                <a:ea typeface="Source Sans Pro Light" charset="0"/>
                <a:cs typeface="Source Sans Pro Light" charset="0"/>
              </a:rPr>
              <a:t>During a DF shuffle, Spark SQL will just use</a:t>
            </a:r>
          </a:p>
          <a:p>
            <a:pPr marL="1295368" lvl="1" indent="-457189"/>
            <a:r>
              <a:rPr lang="en-US" sz="2400" dirty="0" err="1">
                <a:latin typeface="Consolas"/>
                <a:ea typeface="Anonymous Pro" panose="02060609030202000504" pitchFamily="49" charset="0"/>
                <a:cs typeface="Consolas"/>
              </a:rPr>
              <a:t>spark.sql.shuffle.partitions</a:t>
            </a:r>
            <a:r>
              <a:rPr lang="en-US" sz="2400" dirty="0"/>
              <a:t> </a:t>
            </a:r>
          </a:p>
          <a:p>
            <a:pPr marL="1295368" lvl="1" indent="-457189"/>
            <a:r>
              <a:rPr lang="en-US" sz="2400" dirty="0">
                <a:latin typeface="+mj-lt"/>
              </a:rPr>
              <a:t>to determine the number of partitions in the downstream RDD</a:t>
            </a:r>
          </a:p>
          <a:p>
            <a:pPr marL="457189" indent="-457189"/>
            <a:endParaRPr lang="en-US" sz="2900" dirty="0">
              <a:solidFill>
                <a:schemeClr val="tx1"/>
              </a:solidFill>
              <a:latin typeface="Source Sans Pro Light" charset="0"/>
              <a:ea typeface="Source Sans Pro Light" charset="0"/>
              <a:cs typeface="Source Sans Pro Light" charset="0"/>
            </a:endParaRPr>
          </a:p>
          <a:p>
            <a:pPr marL="457189" indent="-457189"/>
            <a:r>
              <a:rPr lang="en-US" sz="2900" dirty="0">
                <a:solidFill>
                  <a:schemeClr val="tx1"/>
                </a:solidFill>
                <a:ea typeface="Source Sans Pro Light" charset="0"/>
                <a:cs typeface="Source Sans Pro Light" charset="0"/>
              </a:rPr>
              <a:t>All SQL configurations can be changed </a:t>
            </a:r>
          </a:p>
          <a:p>
            <a:pPr marL="1295368" lvl="1" indent="-457189"/>
            <a:r>
              <a:rPr lang="en-US" sz="2400" dirty="0">
                <a:solidFill>
                  <a:schemeClr val="tx1"/>
                </a:solidFill>
                <a:latin typeface="Source Sans Pro Light" charset="0"/>
                <a:ea typeface="Source Sans Pro Light" charset="0"/>
                <a:cs typeface="Source Sans Pro Light" charset="0"/>
              </a:rPr>
              <a:t>via </a:t>
            </a:r>
            <a:r>
              <a:rPr lang="en-US" sz="2400" dirty="0" err="1">
                <a:latin typeface="Consolas"/>
                <a:ea typeface="Anonymous Pro" panose="02060609030202000504" pitchFamily="49" charset="0"/>
                <a:cs typeface="Consolas"/>
              </a:rPr>
              <a:t>sqlContext.setConf</a:t>
            </a:r>
            <a:r>
              <a:rPr lang="en-US" sz="2400" dirty="0">
                <a:latin typeface="Consolas"/>
                <a:ea typeface="Anonymous Pro" panose="02060609030202000504" pitchFamily="49" charset="0"/>
                <a:cs typeface="Consolas"/>
              </a:rPr>
              <a:t>(key, value)</a:t>
            </a:r>
            <a:endParaRPr lang="en-US" sz="2400" dirty="0">
              <a:latin typeface="Consolas"/>
              <a:cs typeface="Consolas"/>
            </a:endParaRPr>
          </a:p>
        </p:txBody>
      </p:sp>
    </p:spTree>
    <p:extLst>
      <p:ext uri="{BB962C8B-B14F-4D97-AF65-F5344CB8AC3E}">
        <p14:creationId xmlns:p14="http://schemas.microsoft.com/office/powerpoint/2010/main" val="115678468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463639" y="1398175"/>
            <a:ext cx="11249831" cy="4407497"/>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1" y="-26816"/>
            <a:ext cx="11494100" cy="1143000"/>
          </a:xfrm>
        </p:spPr>
        <p:txBody>
          <a:bodyPr/>
          <a:lstStyle/>
          <a:p>
            <a:r>
              <a:rPr lang="en-US" dirty="0"/>
              <a:t>Creating a </a:t>
            </a:r>
            <a:r>
              <a:rPr lang="en-US" dirty="0" err="1"/>
              <a:t>DataFrame</a:t>
            </a:r>
            <a:r>
              <a:rPr lang="en-US" dirty="0"/>
              <a:t> in Scala</a:t>
            </a:r>
          </a:p>
        </p:txBody>
      </p:sp>
      <p:sp>
        <p:nvSpPr>
          <p:cNvPr id="9" name="Rectangle 8"/>
          <p:cNvSpPr/>
          <p:nvPr/>
        </p:nvSpPr>
        <p:spPr>
          <a:xfrm>
            <a:off x="710498" y="1619043"/>
            <a:ext cx="10864932" cy="3875645"/>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sz="1800" b="1" dirty="0">
                <a:solidFill>
                  <a:srgbClr val="7F0055"/>
                </a:solidFill>
                <a:latin typeface="Consolas" charset="0"/>
                <a:ea typeface="Consolas" charset="0"/>
                <a:cs typeface="Consolas" charset="0"/>
              </a:rPr>
              <a:t>import </a:t>
            </a:r>
            <a:r>
              <a:rPr lang="en-US" sz="1800" dirty="0" err="1">
                <a:solidFill>
                  <a:srgbClr val="000000"/>
                </a:solidFill>
                <a:latin typeface="Consolas" charset="0"/>
                <a:ea typeface="Consolas" charset="0"/>
                <a:cs typeface="Consolas" charset="0"/>
              </a:rPr>
              <a:t>org.apache.spark</a:t>
            </a:r>
            <a:r>
              <a:rPr lang="en-US" sz="1800" dirty="0">
                <a:solidFill>
                  <a:srgbClr val="000000"/>
                </a:solidFill>
                <a:latin typeface="Consolas" charset="0"/>
                <a:ea typeface="Consolas" charset="0"/>
                <a:cs typeface="Consolas" charset="0"/>
              </a:rPr>
              <a:t>.{</a:t>
            </a:r>
            <a:r>
              <a:rPr lang="en-US" sz="1800" dirty="0" err="1">
                <a:solidFill>
                  <a:srgbClr val="000000"/>
                </a:solidFill>
                <a:latin typeface="Consolas" charset="0"/>
                <a:ea typeface="Consolas" charset="0"/>
                <a:cs typeface="Consolas" charset="0"/>
              </a:rPr>
              <a:t>SparkConf</a:t>
            </a:r>
            <a:r>
              <a:rPr lang="en-US" sz="1800" dirty="0">
                <a:solidFill>
                  <a:srgbClr val="000000"/>
                </a:solidFill>
                <a:latin typeface="Consolas" charset="0"/>
                <a:ea typeface="Consolas" charset="0"/>
                <a:cs typeface="Consolas" charset="0"/>
              </a:rPr>
              <a:t>, </a:t>
            </a:r>
            <a:r>
              <a:rPr lang="en-US" sz="1800" dirty="0" err="1">
                <a:solidFill>
                  <a:srgbClr val="000000"/>
                </a:solidFill>
                <a:latin typeface="Consolas" charset="0"/>
                <a:ea typeface="Consolas" charset="0"/>
                <a:cs typeface="Consolas" charset="0"/>
              </a:rPr>
              <a:t>SparkContext</a:t>
            </a:r>
            <a:r>
              <a:rPr lang="en-US" sz="1800" dirty="0">
                <a:solidFill>
                  <a:srgbClr val="000000"/>
                </a:solidFill>
                <a:latin typeface="Consolas" charset="0"/>
                <a:ea typeface="Consolas" charset="0"/>
                <a:cs typeface="Consolas" charset="0"/>
              </a:rPr>
              <a:t>}</a:t>
            </a:r>
          </a:p>
          <a:p>
            <a:r>
              <a:rPr lang="en-US" sz="1800" b="1" dirty="0">
                <a:solidFill>
                  <a:srgbClr val="7F0055"/>
                </a:solidFill>
                <a:latin typeface="Consolas" charset="0"/>
                <a:ea typeface="Consolas" charset="0"/>
                <a:cs typeface="Consolas" charset="0"/>
              </a:rPr>
              <a:t>import </a:t>
            </a:r>
            <a:r>
              <a:rPr lang="en-US" sz="1800" dirty="0" err="1">
                <a:solidFill>
                  <a:srgbClr val="000000"/>
                </a:solidFill>
                <a:latin typeface="Consolas" charset="0"/>
                <a:ea typeface="Consolas" charset="0"/>
                <a:cs typeface="Consolas" charset="0"/>
              </a:rPr>
              <a:t>org.apache.spark.sql.SQLContext</a:t>
            </a:r>
            <a:endParaRPr lang="en-US" sz="1800" dirty="0">
              <a:solidFill>
                <a:srgbClr val="000000"/>
              </a:solidFill>
              <a:latin typeface="Consolas" charset="0"/>
              <a:ea typeface="Consolas" charset="0"/>
              <a:cs typeface="Consolas" charset="0"/>
            </a:endParaRPr>
          </a:p>
          <a:p>
            <a:endParaRPr lang="en-US" sz="1800" dirty="0">
              <a:latin typeface="Consolas" charset="0"/>
              <a:ea typeface="Consolas" charset="0"/>
              <a:cs typeface="Consolas" charset="0"/>
            </a:endParaRPr>
          </a:p>
          <a:p>
            <a:r>
              <a:rPr lang="en-US" sz="1800" b="1" dirty="0" err="1">
                <a:solidFill>
                  <a:srgbClr val="7F0055"/>
                </a:solidFill>
                <a:latin typeface="Consolas" charset="0"/>
                <a:ea typeface="Consolas" charset="0"/>
                <a:cs typeface="Consolas" charset="0"/>
              </a:rPr>
              <a:t>val</a:t>
            </a:r>
            <a:r>
              <a:rPr lang="en-US" sz="1800" b="1" dirty="0">
                <a:solidFill>
                  <a:srgbClr val="7F0055"/>
                </a:solidFill>
                <a:latin typeface="Consolas" charset="0"/>
                <a:ea typeface="Consolas" charset="0"/>
                <a:cs typeface="Consolas" charset="0"/>
              </a:rPr>
              <a:t> </a:t>
            </a:r>
            <a:r>
              <a:rPr lang="en-US" sz="1800" dirty="0" err="1">
                <a:solidFill>
                  <a:srgbClr val="000000"/>
                </a:solidFill>
                <a:latin typeface="Consolas" charset="0"/>
                <a:ea typeface="Consolas" charset="0"/>
                <a:cs typeface="Consolas" charset="0"/>
              </a:rPr>
              <a:t>conf</a:t>
            </a:r>
            <a:r>
              <a:rPr lang="en-US" sz="1800" b="1" dirty="0">
                <a:solidFill>
                  <a:srgbClr val="000000"/>
                </a:solidFill>
                <a:latin typeface="Consolas" charset="0"/>
                <a:ea typeface="Consolas" charset="0"/>
                <a:cs typeface="Consolas" charset="0"/>
              </a:rPr>
              <a:t> </a:t>
            </a:r>
            <a:r>
              <a:rPr lang="en-US" sz="1800" b="1" dirty="0">
                <a:solidFill>
                  <a:srgbClr val="7F0055"/>
                </a:solidFill>
                <a:latin typeface="Consolas" charset="0"/>
                <a:ea typeface="Consolas" charset="0"/>
                <a:cs typeface="Consolas" charset="0"/>
              </a:rPr>
              <a:t>= new </a:t>
            </a:r>
            <a:r>
              <a:rPr lang="en-US" sz="1800" dirty="0" err="1">
                <a:solidFill>
                  <a:srgbClr val="000000"/>
                </a:solidFill>
                <a:latin typeface="Consolas" charset="0"/>
                <a:ea typeface="Consolas" charset="0"/>
                <a:cs typeface="Consolas" charset="0"/>
              </a:rPr>
              <a:t>SparkConf</a:t>
            </a:r>
            <a:r>
              <a:rPr lang="en-US" sz="1800" dirty="0">
                <a:solidFill>
                  <a:srgbClr val="000000"/>
                </a:solidFill>
                <a:latin typeface="Consolas" charset="0"/>
                <a:ea typeface="Consolas" charset="0"/>
                <a:cs typeface="Consolas" charset="0"/>
              </a:rPr>
              <a:t>().</a:t>
            </a:r>
            <a:r>
              <a:rPr lang="en-US" sz="1800" dirty="0" err="1">
                <a:solidFill>
                  <a:srgbClr val="000000"/>
                </a:solidFill>
                <a:latin typeface="Consolas" charset="0"/>
                <a:ea typeface="Consolas" charset="0"/>
                <a:cs typeface="Consolas" charset="0"/>
              </a:rPr>
              <a:t>setAppName</a:t>
            </a:r>
            <a:r>
              <a:rPr lang="en-US" sz="1800" dirty="0">
                <a:solidFill>
                  <a:srgbClr val="000000"/>
                </a:solidFill>
                <a:latin typeface="Consolas" charset="0"/>
                <a:ea typeface="Consolas" charset="0"/>
                <a:cs typeface="Consolas" charset="0"/>
              </a:rPr>
              <a:t>(</a:t>
            </a:r>
            <a:r>
              <a:rPr lang="en-US" sz="1800" dirty="0" err="1">
                <a:solidFill>
                  <a:srgbClr val="000000"/>
                </a:solidFill>
                <a:latin typeface="Consolas" charset="0"/>
                <a:ea typeface="Consolas" charset="0"/>
                <a:cs typeface="Consolas" charset="0"/>
              </a:rPr>
              <a:t>appName</a:t>
            </a:r>
            <a:r>
              <a:rPr lang="en-US" sz="1800" dirty="0">
                <a:solidFill>
                  <a:srgbClr val="000000"/>
                </a:solidFill>
                <a:latin typeface="Consolas" charset="0"/>
                <a:ea typeface="Consolas" charset="0"/>
                <a:cs typeface="Consolas" charset="0"/>
              </a:rPr>
              <a:t>).</a:t>
            </a:r>
          </a:p>
          <a:p>
            <a:r>
              <a:rPr lang="fi-FI" sz="1800" dirty="0">
                <a:latin typeface="Consolas" charset="0"/>
                <a:ea typeface="Consolas" charset="0"/>
                <a:cs typeface="Consolas" charset="0"/>
              </a:rPr>
              <a:t>                           </a:t>
            </a:r>
            <a:r>
              <a:rPr lang="fi-FI" sz="1800" dirty="0">
                <a:solidFill>
                  <a:srgbClr val="000000"/>
                </a:solidFill>
                <a:latin typeface="Consolas" charset="0"/>
                <a:ea typeface="Consolas" charset="0"/>
                <a:cs typeface="Consolas" charset="0"/>
              </a:rPr>
              <a:t>setMaster(</a:t>
            </a:r>
            <a:r>
              <a:rPr lang="fi-FI" sz="1800" dirty="0" err="1">
                <a:solidFill>
                  <a:srgbClr val="000000"/>
                </a:solidFill>
                <a:latin typeface="Consolas" charset="0"/>
                <a:ea typeface="Consolas" charset="0"/>
                <a:cs typeface="Consolas" charset="0"/>
              </a:rPr>
              <a:t>master</a:t>
            </a:r>
            <a:r>
              <a:rPr lang="fi-FI" sz="1800" dirty="0">
                <a:solidFill>
                  <a:srgbClr val="000000"/>
                </a:solidFill>
                <a:latin typeface="Consolas" charset="0"/>
                <a:ea typeface="Consolas" charset="0"/>
                <a:cs typeface="Consolas" charset="0"/>
              </a:rPr>
              <a:t>)</a:t>
            </a:r>
          </a:p>
          <a:p>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Returns</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existing</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SparkContext</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if</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there</a:t>
            </a:r>
            <a:r>
              <a:rPr lang="fi-FI" sz="1800" dirty="0">
                <a:solidFill>
                  <a:srgbClr val="00A019"/>
                </a:solidFill>
                <a:latin typeface="Consolas" charset="0"/>
                <a:ea typeface="Consolas" charset="0"/>
                <a:cs typeface="Consolas" charset="0"/>
              </a:rPr>
              <a:t> is </a:t>
            </a:r>
            <a:r>
              <a:rPr lang="fi-FI" sz="1800" dirty="0" err="1">
                <a:solidFill>
                  <a:srgbClr val="00A019"/>
                </a:solidFill>
                <a:latin typeface="Consolas" charset="0"/>
                <a:ea typeface="Consolas" charset="0"/>
                <a:cs typeface="Consolas" charset="0"/>
              </a:rPr>
              <a:t>one</a:t>
            </a:r>
            <a:r>
              <a:rPr lang="fi-FI" sz="1800" dirty="0">
                <a:solidFill>
                  <a:srgbClr val="00A019"/>
                </a:solidFill>
                <a:latin typeface="Consolas" charset="0"/>
                <a:ea typeface="Consolas" charset="0"/>
                <a:cs typeface="Consolas" charset="0"/>
              </a:rPr>
              <a:t>;</a:t>
            </a:r>
          </a:p>
          <a:p>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otherwise</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creates</a:t>
            </a:r>
            <a:r>
              <a:rPr lang="fi-FI" sz="1800" dirty="0">
                <a:solidFill>
                  <a:srgbClr val="00A019"/>
                </a:solidFill>
                <a:latin typeface="Consolas" charset="0"/>
                <a:ea typeface="Consolas" charset="0"/>
                <a:cs typeface="Consolas" charset="0"/>
              </a:rPr>
              <a:t> a </a:t>
            </a:r>
            <a:r>
              <a:rPr lang="fi-FI" sz="1800" dirty="0" err="1">
                <a:solidFill>
                  <a:srgbClr val="00A019"/>
                </a:solidFill>
                <a:latin typeface="Consolas" charset="0"/>
                <a:ea typeface="Consolas" charset="0"/>
                <a:cs typeface="Consolas" charset="0"/>
              </a:rPr>
              <a:t>new</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one</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from</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the</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config</a:t>
            </a:r>
            <a:r>
              <a:rPr lang="fi-FI" sz="1800" dirty="0">
                <a:solidFill>
                  <a:srgbClr val="00A019"/>
                </a:solidFill>
                <a:latin typeface="Consolas" charset="0"/>
                <a:ea typeface="Consolas" charset="0"/>
                <a:cs typeface="Consolas" charset="0"/>
              </a:rPr>
              <a:t>.</a:t>
            </a:r>
          </a:p>
          <a:p>
            <a:r>
              <a:rPr lang="fi-FI" sz="1800" b="1" dirty="0" err="1">
                <a:solidFill>
                  <a:srgbClr val="7F0055"/>
                </a:solidFill>
                <a:latin typeface="Consolas" charset="0"/>
                <a:ea typeface="Consolas" charset="0"/>
                <a:cs typeface="Consolas" charset="0"/>
              </a:rPr>
              <a:t>val</a:t>
            </a:r>
            <a:r>
              <a:rPr lang="fi-FI" sz="1800" b="1" dirty="0">
                <a:solidFill>
                  <a:srgbClr val="7F0055"/>
                </a:solidFill>
                <a:latin typeface="Consolas" charset="0"/>
                <a:ea typeface="Consolas" charset="0"/>
                <a:cs typeface="Consolas" charset="0"/>
              </a:rPr>
              <a:t> </a:t>
            </a:r>
            <a:r>
              <a:rPr lang="fi-FI" sz="1800" dirty="0" err="1">
                <a:solidFill>
                  <a:srgbClr val="000000"/>
                </a:solidFill>
                <a:latin typeface="Consolas" charset="0"/>
                <a:ea typeface="Consolas" charset="0"/>
                <a:cs typeface="Consolas" charset="0"/>
              </a:rPr>
              <a:t>sc</a:t>
            </a:r>
            <a:r>
              <a:rPr lang="fi-FI" sz="1800" b="1" dirty="0">
                <a:solidFill>
                  <a:srgbClr val="000000"/>
                </a:solidFill>
                <a:latin typeface="Consolas" charset="0"/>
                <a:ea typeface="Consolas" charset="0"/>
                <a:cs typeface="Consolas" charset="0"/>
              </a:rPr>
              <a:t> </a:t>
            </a:r>
            <a:r>
              <a:rPr lang="fi-FI" sz="1800" b="1" dirty="0">
                <a:solidFill>
                  <a:srgbClr val="7F0055"/>
                </a:solidFill>
                <a:latin typeface="Consolas" charset="0"/>
                <a:ea typeface="Consolas" charset="0"/>
                <a:cs typeface="Consolas" charset="0"/>
              </a:rPr>
              <a:t>= </a:t>
            </a:r>
            <a:r>
              <a:rPr lang="fi-FI" sz="1800" dirty="0" err="1">
                <a:solidFill>
                  <a:srgbClr val="000000"/>
                </a:solidFill>
                <a:latin typeface="Consolas" charset="0"/>
                <a:ea typeface="Consolas" charset="0"/>
                <a:cs typeface="Consolas" charset="0"/>
              </a:rPr>
              <a:t>SparkContext.getOrCreate</a:t>
            </a:r>
            <a:r>
              <a:rPr lang="fi-FI" sz="1800" dirty="0">
                <a:solidFill>
                  <a:srgbClr val="000000"/>
                </a:solidFill>
                <a:latin typeface="Consolas" charset="0"/>
                <a:ea typeface="Consolas" charset="0"/>
                <a:cs typeface="Consolas" charset="0"/>
              </a:rPr>
              <a:t>(</a:t>
            </a:r>
            <a:r>
              <a:rPr lang="fi-FI" sz="1800" dirty="0" err="1">
                <a:solidFill>
                  <a:srgbClr val="000000"/>
                </a:solidFill>
                <a:latin typeface="Consolas" charset="0"/>
                <a:ea typeface="Consolas" charset="0"/>
                <a:cs typeface="Consolas" charset="0"/>
              </a:rPr>
              <a:t>conf</a:t>
            </a:r>
            <a:r>
              <a:rPr lang="fi-FI" sz="1800" dirty="0">
                <a:solidFill>
                  <a:srgbClr val="000000"/>
                </a:solidFill>
                <a:latin typeface="Consolas" charset="0"/>
                <a:ea typeface="Consolas" charset="0"/>
                <a:cs typeface="Consolas" charset="0"/>
              </a:rPr>
              <a:t>)</a:t>
            </a:r>
          </a:p>
          <a:p>
            <a:r>
              <a:rPr lang="nl-NL" sz="1800" dirty="0">
                <a:solidFill>
                  <a:srgbClr val="00A019"/>
                </a:solidFill>
                <a:latin typeface="Consolas" charset="0"/>
                <a:ea typeface="Consolas" charset="0"/>
                <a:cs typeface="Consolas" charset="0"/>
              </a:rPr>
              <a:t>// </a:t>
            </a:r>
            <a:r>
              <a:rPr lang="nl-NL" sz="1800" dirty="0" err="1">
                <a:solidFill>
                  <a:srgbClr val="00A019"/>
                </a:solidFill>
                <a:latin typeface="Consolas" charset="0"/>
                <a:ea typeface="Consolas" charset="0"/>
                <a:cs typeface="Consolas" charset="0"/>
              </a:rPr>
              <a:t>Ditto</a:t>
            </a:r>
            <a:r>
              <a:rPr lang="nl-NL" sz="1800" dirty="0">
                <a:solidFill>
                  <a:srgbClr val="00A019"/>
                </a:solidFill>
                <a:latin typeface="Consolas" charset="0"/>
                <a:ea typeface="Consolas" charset="0"/>
                <a:cs typeface="Consolas" charset="0"/>
              </a:rPr>
              <a:t>.</a:t>
            </a:r>
          </a:p>
          <a:p>
            <a:r>
              <a:rPr lang="nl-NL" sz="1800" b="1" dirty="0">
                <a:solidFill>
                  <a:srgbClr val="7F0055"/>
                </a:solidFill>
                <a:latin typeface="Consolas" charset="0"/>
                <a:ea typeface="Consolas" charset="0"/>
                <a:cs typeface="Consolas" charset="0"/>
              </a:rPr>
              <a:t>val </a:t>
            </a:r>
            <a:r>
              <a:rPr lang="nl-NL" sz="1800" dirty="0" err="1">
                <a:solidFill>
                  <a:srgbClr val="000000"/>
                </a:solidFill>
                <a:latin typeface="Consolas" charset="0"/>
                <a:ea typeface="Consolas" charset="0"/>
                <a:cs typeface="Consolas" charset="0"/>
              </a:rPr>
              <a:t>sqlContext</a:t>
            </a:r>
            <a:r>
              <a:rPr lang="nl-NL" sz="1800" b="1" dirty="0">
                <a:solidFill>
                  <a:srgbClr val="000000"/>
                </a:solidFill>
                <a:latin typeface="Consolas" charset="0"/>
                <a:ea typeface="Consolas" charset="0"/>
                <a:cs typeface="Consolas" charset="0"/>
              </a:rPr>
              <a:t> </a:t>
            </a:r>
            <a:r>
              <a:rPr lang="nl-NL" sz="1800" b="1" dirty="0">
                <a:solidFill>
                  <a:srgbClr val="7F0055"/>
                </a:solidFill>
                <a:latin typeface="Consolas" charset="0"/>
                <a:ea typeface="Consolas" charset="0"/>
                <a:cs typeface="Consolas" charset="0"/>
              </a:rPr>
              <a:t>= </a:t>
            </a:r>
            <a:r>
              <a:rPr lang="nl-NL" sz="1800" dirty="0" err="1">
                <a:solidFill>
                  <a:srgbClr val="000000"/>
                </a:solidFill>
                <a:latin typeface="Consolas" charset="0"/>
                <a:ea typeface="Consolas" charset="0"/>
                <a:cs typeface="Consolas" charset="0"/>
              </a:rPr>
              <a:t>SQLContext.getOrCreate</a:t>
            </a:r>
            <a:r>
              <a:rPr lang="nl-NL" sz="1800" dirty="0">
                <a:solidFill>
                  <a:srgbClr val="000000"/>
                </a:solidFill>
                <a:latin typeface="Consolas" charset="0"/>
                <a:ea typeface="Consolas" charset="0"/>
                <a:cs typeface="Consolas" charset="0"/>
              </a:rPr>
              <a:t>(</a:t>
            </a:r>
            <a:r>
              <a:rPr lang="nl-NL" sz="1800" dirty="0" err="1">
                <a:solidFill>
                  <a:srgbClr val="000000"/>
                </a:solidFill>
                <a:latin typeface="Consolas" charset="0"/>
                <a:ea typeface="Consolas" charset="0"/>
                <a:cs typeface="Consolas" charset="0"/>
              </a:rPr>
              <a:t>sc</a:t>
            </a:r>
            <a:r>
              <a:rPr lang="nl-NL" sz="1800" dirty="0">
                <a:solidFill>
                  <a:srgbClr val="000000"/>
                </a:solidFill>
                <a:latin typeface="Consolas" charset="0"/>
                <a:ea typeface="Consolas" charset="0"/>
                <a:cs typeface="Consolas" charset="0"/>
              </a:rPr>
              <a:t>)</a:t>
            </a:r>
          </a:p>
          <a:p>
            <a:endParaRPr lang="nl-NL" sz="1800" dirty="0">
              <a:latin typeface="Consolas" charset="0"/>
              <a:ea typeface="Consolas" charset="0"/>
              <a:cs typeface="Consolas" charset="0"/>
            </a:endParaRPr>
          </a:p>
          <a:p>
            <a:r>
              <a:rPr lang="nl-NL" sz="1800" b="1" dirty="0">
                <a:solidFill>
                  <a:srgbClr val="7F0055"/>
                </a:solidFill>
                <a:latin typeface="Consolas" charset="0"/>
                <a:ea typeface="Consolas" charset="0"/>
                <a:cs typeface="Consolas" charset="0"/>
              </a:rPr>
              <a:t>val </a:t>
            </a:r>
            <a:r>
              <a:rPr lang="nl-NL" sz="1800" dirty="0" err="1">
                <a:solidFill>
                  <a:srgbClr val="000000"/>
                </a:solidFill>
                <a:latin typeface="Consolas" charset="0"/>
                <a:ea typeface="Consolas" charset="0"/>
                <a:cs typeface="Consolas" charset="0"/>
              </a:rPr>
              <a:t>df</a:t>
            </a:r>
            <a:r>
              <a:rPr lang="nl-NL" sz="1800" b="1" dirty="0">
                <a:solidFill>
                  <a:srgbClr val="000000"/>
                </a:solidFill>
                <a:latin typeface="Consolas" charset="0"/>
                <a:ea typeface="Consolas" charset="0"/>
                <a:cs typeface="Consolas" charset="0"/>
              </a:rPr>
              <a:t> </a:t>
            </a:r>
            <a:r>
              <a:rPr lang="nl-NL" sz="1800" b="1" dirty="0">
                <a:solidFill>
                  <a:srgbClr val="7F0055"/>
                </a:solidFill>
                <a:latin typeface="Consolas" charset="0"/>
                <a:ea typeface="Consolas" charset="0"/>
                <a:cs typeface="Consolas" charset="0"/>
              </a:rPr>
              <a:t>= </a:t>
            </a:r>
            <a:r>
              <a:rPr lang="nl-NL" sz="1800" dirty="0" err="1">
                <a:solidFill>
                  <a:srgbClr val="000000"/>
                </a:solidFill>
                <a:latin typeface="Consolas" charset="0"/>
                <a:ea typeface="Consolas" charset="0"/>
                <a:cs typeface="Consolas" charset="0"/>
              </a:rPr>
              <a:t>sqlContext.read.parquet</a:t>
            </a:r>
            <a:r>
              <a:rPr lang="nl-NL" sz="1800" dirty="0">
                <a:solidFill>
                  <a:srgbClr val="000000"/>
                </a:solidFill>
                <a:latin typeface="Consolas" charset="0"/>
                <a:ea typeface="Consolas" charset="0"/>
                <a:cs typeface="Consolas" charset="0"/>
              </a:rPr>
              <a:t>(</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path</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to</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data.parquet</a:t>
            </a:r>
            <a:r>
              <a:rPr lang="nl-NL" sz="1800" dirty="0">
                <a:solidFill>
                  <a:srgbClr val="0000BB"/>
                </a:solidFill>
                <a:latin typeface="Consolas" charset="0"/>
                <a:ea typeface="Consolas" charset="0"/>
                <a:cs typeface="Consolas" charset="0"/>
              </a:rPr>
              <a:t>")</a:t>
            </a:r>
          </a:p>
          <a:p>
            <a:r>
              <a:rPr lang="nl-NL" sz="1800" b="1" dirty="0">
                <a:solidFill>
                  <a:srgbClr val="7F0055"/>
                </a:solidFill>
                <a:latin typeface="Consolas" charset="0"/>
                <a:ea typeface="Consolas" charset="0"/>
                <a:cs typeface="Consolas" charset="0"/>
              </a:rPr>
              <a:t>val </a:t>
            </a:r>
            <a:r>
              <a:rPr lang="nl-NL" sz="1800" dirty="0">
                <a:solidFill>
                  <a:srgbClr val="000000"/>
                </a:solidFill>
                <a:latin typeface="Consolas" charset="0"/>
                <a:ea typeface="Consolas" charset="0"/>
                <a:cs typeface="Consolas" charset="0"/>
              </a:rPr>
              <a:t>df2</a:t>
            </a:r>
            <a:r>
              <a:rPr lang="nl-NL" sz="1800" b="1" dirty="0">
                <a:solidFill>
                  <a:srgbClr val="000000"/>
                </a:solidFill>
                <a:latin typeface="Consolas" charset="0"/>
                <a:ea typeface="Consolas" charset="0"/>
                <a:cs typeface="Consolas" charset="0"/>
              </a:rPr>
              <a:t> </a:t>
            </a:r>
            <a:r>
              <a:rPr lang="nl-NL" sz="1800" b="1" dirty="0">
                <a:solidFill>
                  <a:srgbClr val="7F0055"/>
                </a:solidFill>
                <a:latin typeface="Consolas" charset="0"/>
                <a:ea typeface="Consolas" charset="0"/>
                <a:cs typeface="Consolas" charset="0"/>
              </a:rPr>
              <a:t>= </a:t>
            </a:r>
            <a:r>
              <a:rPr lang="nl-NL" sz="1800" dirty="0" err="1">
                <a:solidFill>
                  <a:srgbClr val="000000"/>
                </a:solidFill>
                <a:latin typeface="Consolas" charset="0"/>
                <a:ea typeface="Consolas" charset="0"/>
                <a:cs typeface="Consolas" charset="0"/>
              </a:rPr>
              <a:t>sqlContext.read.json</a:t>
            </a:r>
            <a:r>
              <a:rPr lang="nl-NL" sz="1800" dirty="0">
                <a:solidFill>
                  <a:srgbClr val="000000"/>
                </a:solidFill>
                <a:latin typeface="Consolas" charset="0"/>
                <a:ea typeface="Consolas" charset="0"/>
                <a:cs typeface="Consolas" charset="0"/>
              </a:rPr>
              <a:t>(</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path</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to</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data.json</a:t>
            </a:r>
            <a:r>
              <a:rPr lang="nl-NL" sz="1800" dirty="0">
                <a:solidFill>
                  <a:srgbClr val="0000BB"/>
                </a:solidFill>
                <a:latin typeface="Consolas" charset="0"/>
                <a:ea typeface="Consolas" charset="0"/>
                <a:cs typeface="Consolas" charset="0"/>
              </a:rPr>
              <a:t>")</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242215" y="1740140"/>
            <a:ext cx="268157" cy="395009"/>
          </a:xfrm>
          <a:prstGeom prst="rect">
            <a:avLst/>
          </a:prstGeom>
        </p:spPr>
      </p:pic>
    </p:spTree>
    <p:extLst>
      <p:ext uri="{BB962C8B-B14F-4D97-AF65-F5344CB8AC3E}">
        <p14:creationId xmlns:p14="http://schemas.microsoft.com/office/powerpoint/2010/main" val="187537876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576707" y="1787786"/>
            <a:ext cx="11136763" cy="401062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1" y="-26816"/>
            <a:ext cx="11494100" cy="1143000"/>
          </a:xfrm>
        </p:spPr>
        <p:txBody>
          <a:bodyPr/>
          <a:lstStyle/>
          <a:p>
            <a:r>
              <a:rPr lang="en-US" dirty="0"/>
              <a:t>Creating a DataFrame in Python</a:t>
            </a:r>
          </a:p>
        </p:txBody>
      </p:sp>
      <p:sp>
        <p:nvSpPr>
          <p:cNvPr id="9" name="Rectangle 8"/>
          <p:cNvSpPr/>
          <p:nvPr/>
        </p:nvSpPr>
        <p:spPr>
          <a:xfrm>
            <a:off x="710498" y="1974929"/>
            <a:ext cx="10864932" cy="3519759"/>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dirty="0">
                <a:solidFill>
                  <a:srgbClr val="00A019"/>
                </a:solidFill>
                <a:latin typeface="Consolas" charset="0"/>
                <a:ea typeface="Consolas" charset="0"/>
                <a:cs typeface="Consolas" charset="0"/>
              </a:rPr>
              <a:t># The import isn't necessary in the </a:t>
            </a:r>
            <a:r>
              <a:rPr lang="en-US" dirty="0" err="1">
                <a:solidFill>
                  <a:srgbClr val="00A019"/>
                </a:solidFill>
                <a:latin typeface="Consolas" charset="0"/>
                <a:ea typeface="Consolas" charset="0"/>
                <a:cs typeface="Consolas" charset="0"/>
              </a:rPr>
              <a:t>SparkShell</a:t>
            </a:r>
            <a:r>
              <a:rPr lang="en-US" dirty="0">
                <a:solidFill>
                  <a:srgbClr val="00A019"/>
                </a:solidFill>
                <a:latin typeface="Consolas" charset="0"/>
                <a:ea typeface="Consolas" charset="0"/>
                <a:cs typeface="Consolas" charset="0"/>
              </a:rPr>
              <a:t> or </a:t>
            </a:r>
            <a:r>
              <a:rPr lang="en-US" dirty="0" err="1">
                <a:solidFill>
                  <a:srgbClr val="00A019"/>
                </a:solidFill>
                <a:latin typeface="Consolas" charset="0"/>
                <a:ea typeface="Consolas" charset="0"/>
                <a:cs typeface="Consolas" charset="0"/>
              </a:rPr>
              <a:t>Databricks</a:t>
            </a:r>
            <a:endParaRPr lang="en-US" dirty="0">
              <a:solidFill>
                <a:srgbClr val="00A019"/>
              </a:solidFill>
              <a:latin typeface="Consolas" charset="0"/>
              <a:ea typeface="Consolas" charset="0"/>
              <a:cs typeface="Consolas" charset="0"/>
            </a:endParaRPr>
          </a:p>
          <a:p>
            <a:r>
              <a:rPr lang="en-US" b="1" dirty="0">
                <a:solidFill>
                  <a:srgbClr val="7F0055"/>
                </a:solidFill>
                <a:latin typeface="Consolas" charset="0"/>
                <a:ea typeface="Consolas" charset="0"/>
                <a:cs typeface="Consolas" charset="0"/>
              </a:rPr>
              <a:t>from </a:t>
            </a:r>
            <a:r>
              <a:rPr lang="en-US" dirty="0" err="1">
                <a:solidFill>
                  <a:srgbClr val="000000"/>
                </a:solidFill>
                <a:latin typeface="Consolas" charset="0"/>
                <a:ea typeface="Consolas" charset="0"/>
                <a:cs typeface="Consolas" charset="0"/>
              </a:rPr>
              <a:t>pyspark</a:t>
            </a:r>
            <a:r>
              <a:rPr lang="en-US" b="1" dirty="0">
                <a:solidFill>
                  <a:srgbClr val="000000"/>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import </a:t>
            </a:r>
            <a:r>
              <a:rPr lang="en-US" dirty="0" err="1">
                <a:solidFill>
                  <a:srgbClr val="000000"/>
                </a:solidFill>
                <a:latin typeface="Consolas" charset="0"/>
                <a:ea typeface="Consolas" charset="0"/>
                <a:cs typeface="Consolas" charset="0"/>
              </a:rPr>
              <a:t>SparkContext</a:t>
            </a:r>
            <a:r>
              <a:rPr lang="en-US" dirty="0">
                <a:solidFill>
                  <a:srgbClr val="000000"/>
                </a:solidFill>
                <a:latin typeface="Consolas" charset="0"/>
                <a:ea typeface="Consolas" charset="0"/>
                <a:cs typeface="Consolas" charset="0"/>
              </a:rPr>
              <a:t>, </a:t>
            </a:r>
            <a:r>
              <a:rPr lang="en-US" dirty="0" err="1">
                <a:solidFill>
                  <a:srgbClr val="000000"/>
                </a:solidFill>
                <a:latin typeface="Consolas" charset="0"/>
                <a:ea typeface="Consolas" charset="0"/>
                <a:cs typeface="Consolas" charset="0"/>
              </a:rPr>
              <a:t>SparkConf</a:t>
            </a:r>
            <a:endParaRPr lang="en-US" dirty="0">
              <a:solidFill>
                <a:srgbClr val="000000"/>
              </a:solidFill>
              <a:latin typeface="Consolas" charset="0"/>
              <a:ea typeface="Consolas" charset="0"/>
              <a:cs typeface="Consolas" charset="0"/>
            </a:endParaRPr>
          </a:p>
          <a:p>
            <a:endParaRPr lang="en-US" dirty="0">
              <a:latin typeface="Consolas" charset="0"/>
              <a:ea typeface="Consolas" charset="0"/>
              <a:cs typeface="Consolas" charset="0"/>
            </a:endParaRPr>
          </a:p>
          <a:p>
            <a:r>
              <a:rPr lang="en-US" dirty="0">
                <a:solidFill>
                  <a:srgbClr val="00A019"/>
                </a:solidFill>
                <a:latin typeface="Consolas" charset="0"/>
                <a:ea typeface="Consolas" charset="0"/>
                <a:cs typeface="Consolas" charset="0"/>
              </a:rPr>
              <a:t># The following three lines are not necessary</a:t>
            </a:r>
          </a:p>
          <a:p>
            <a:r>
              <a:rPr lang="en-US" dirty="0">
                <a:solidFill>
                  <a:srgbClr val="00A019"/>
                </a:solidFill>
                <a:latin typeface="Consolas" charset="0"/>
                <a:ea typeface="Consolas" charset="0"/>
                <a:cs typeface="Consolas" charset="0"/>
              </a:rPr>
              <a:t># in the </a:t>
            </a:r>
            <a:r>
              <a:rPr lang="en-US" dirty="0" err="1">
                <a:solidFill>
                  <a:srgbClr val="00A019"/>
                </a:solidFill>
                <a:latin typeface="Consolas" charset="0"/>
                <a:ea typeface="Consolas" charset="0"/>
                <a:cs typeface="Consolas" charset="0"/>
              </a:rPr>
              <a:t>pyspark</a:t>
            </a:r>
            <a:r>
              <a:rPr lang="en-US" dirty="0">
                <a:solidFill>
                  <a:srgbClr val="00A019"/>
                </a:solidFill>
                <a:latin typeface="Consolas" charset="0"/>
                <a:ea typeface="Consolas" charset="0"/>
                <a:cs typeface="Consolas" charset="0"/>
              </a:rPr>
              <a:t> shell</a:t>
            </a:r>
          </a:p>
          <a:p>
            <a:r>
              <a:rPr lang="en-US" dirty="0" err="1">
                <a:solidFill>
                  <a:srgbClr val="000000"/>
                </a:solidFill>
                <a:latin typeface="Consolas" charset="0"/>
                <a:ea typeface="Consolas" charset="0"/>
                <a:cs typeface="Consolas" charset="0"/>
              </a:rPr>
              <a:t>con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parkConf</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setAppName</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appName</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setMaster</a:t>
            </a:r>
            <a:r>
              <a:rPr lang="en-US" dirty="0">
                <a:solidFill>
                  <a:srgbClr val="000000"/>
                </a:solidFill>
                <a:latin typeface="Consolas" charset="0"/>
                <a:ea typeface="Consolas" charset="0"/>
                <a:cs typeface="Consolas" charset="0"/>
              </a:rPr>
              <a:t>(master)</a:t>
            </a:r>
          </a:p>
          <a:p>
            <a:r>
              <a:rPr lang="en-US" dirty="0" err="1">
                <a:solidFill>
                  <a:srgbClr val="000000"/>
                </a:solidFill>
                <a:latin typeface="Consolas" charset="0"/>
                <a:ea typeface="Consolas" charset="0"/>
                <a:cs typeface="Consolas" charset="0"/>
              </a:rPr>
              <a:t>sc</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parkContext</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conf</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conf</a:t>
            </a:r>
            <a:r>
              <a:rPr lang="en-US" dirty="0">
                <a:solidFill>
                  <a:srgbClr val="000000"/>
                </a:solidFill>
                <a:latin typeface="Consolas" charset="0"/>
                <a:ea typeface="Consolas" charset="0"/>
                <a:cs typeface="Consolas" charset="0"/>
              </a:rPr>
              <a:t>)</a:t>
            </a:r>
          </a:p>
          <a:p>
            <a:r>
              <a:rPr lang="en-US" dirty="0" err="1">
                <a:solidFill>
                  <a:srgbClr val="000000"/>
                </a:solidFill>
                <a:latin typeface="Consolas" charset="0"/>
                <a:ea typeface="Consolas" charset="0"/>
                <a:cs typeface="Consolas" charset="0"/>
              </a:rPr>
              <a:t>sqlContext</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QLContext</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sc</a:t>
            </a:r>
            <a:r>
              <a:rPr lang="en-US" dirty="0">
                <a:solidFill>
                  <a:srgbClr val="000000"/>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d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qlContext.read.parque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path/to/</a:t>
            </a:r>
            <a:r>
              <a:rPr lang="en-US" dirty="0" err="1">
                <a:solidFill>
                  <a:srgbClr val="0000BB"/>
                </a:solidFill>
                <a:latin typeface="Consolas" charset="0"/>
                <a:ea typeface="Consolas" charset="0"/>
                <a:cs typeface="Consolas" charset="0"/>
              </a:rPr>
              <a:t>data.parquet</a:t>
            </a:r>
            <a:r>
              <a:rPr lang="en-US" dirty="0">
                <a:solidFill>
                  <a:srgbClr val="0000BB"/>
                </a:solidFill>
                <a:latin typeface="Consolas" charset="0"/>
                <a:ea typeface="Consolas" charset="0"/>
                <a:cs typeface="Consolas" charset="0"/>
              </a:rPr>
              <a:t>")</a:t>
            </a:r>
          </a:p>
          <a:p>
            <a:r>
              <a:rPr lang="en-US" dirty="0">
                <a:solidFill>
                  <a:srgbClr val="000000"/>
                </a:solidFill>
                <a:latin typeface="Consolas" charset="0"/>
                <a:ea typeface="Consolas" charset="0"/>
                <a:cs typeface="Consolas" charset="0"/>
              </a:rPr>
              <a:t>df2 = </a:t>
            </a:r>
            <a:r>
              <a:rPr lang="en-US" dirty="0" err="1">
                <a:solidFill>
                  <a:srgbClr val="000000"/>
                </a:solidFill>
                <a:latin typeface="Consolas" charset="0"/>
                <a:ea typeface="Consolas" charset="0"/>
                <a:cs typeface="Consolas" charset="0"/>
              </a:rPr>
              <a:t>sqlContext.read.json</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path/to/</a:t>
            </a:r>
            <a:r>
              <a:rPr lang="en-US" dirty="0" err="1">
                <a:solidFill>
                  <a:srgbClr val="0000BB"/>
                </a:solidFill>
                <a:latin typeface="Consolas" charset="0"/>
                <a:ea typeface="Consolas" charset="0"/>
                <a:cs typeface="Consolas" charset="0"/>
              </a:rPr>
              <a:t>data.json</a:t>
            </a:r>
            <a:r>
              <a:rPr lang="en-US" dirty="0">
                <a:solidFill>
                  <a:srgbClr val="0000BB"/>
                </a:solidFill>
                <a:latin typeface="Consolas" charset="0"/>
                <a:ea typeface="Consolas" charset="0"/>
                <a:cs typeface="Consolas" charset="0"/>
              </a:rPr>
              <a:t>")</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18636" y="2092993"/>
            <a:ext cx="443463" cy="443463"/>
          </a:xfrm>
          <a:prstGeom prst="rect">
            <a:avLst/>
          </a:prstGeom>
        </p:spPr>
      </p:pic>
    </p:spTree>
    <p:extLst>
      <p:ext uri="{BB962C8B-B14F-4D97-AF65-F5344CB8AC3E}">
        <p14:creationId xmlns:p14="http://schemas.microsoft.com/office/powerpoint/2010/main" val="122343752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4"/>
          <p:cNvSpPr/>
          <p:nvPr/>
        </p:nvSpPr>
        <p:spPr>
          <a:xfrm>
            <a:off x="1945878" y="3118881"/>
            <a:ext cx="7867911" cy="2641600"/>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p:txBody>
          <a:bodyPr>
            <a:normAutofit fontScale="90000"/>
          </a:bodyPr>
          <a:lstStyle/>
          <a:p>
            <a:r>
              <a:rPr lang="en-US" dirty="0" err="1"/>
              <a:t>printSchema</a:t>
            </a:r>
            <a:r>
              <a:rPr lang="en-US" dirty="0"/>
              <a:t>()</a:t>
            </a:r>
          </a:p>
        </p:txBody>
      </p:sp>
      <p:sp>
        <p:nvSpPr>
          <p:cNvPr id="3" name="Content Placeholder 2"/>
          <p:cNvSpPr>
            <a:spLocks noGrp="1"/>
          </p:cNvSpPr>
          <p:nvPr>
            <p:ph idx="1"/>
          </p:nvPr>
        </p:nvSpPr>
        <p:spPr>
          <a:xfrm>
            <a:off x="1557698" y="1428751"/>
            <a:ext cx="8727092" cy="1486399"/>
          </a:xfrm>
        </p:spPr>
        <p:txBody>
          <a:bodyPr>
            <a:normAutofit fontScale="85000" lnSpcReduction="10000"/>
          </a:bodyPr>
          <a:lstStyle/>
          <a:p>
            <a:pPr marL="0" indent="0">
              <a:buNone/>
            </a:pPr>
            <a:r>
              <a:rPr lang="en-US" dirty="0"/>
              <a:t>You can have Spark tell you what it thinks the data schema is, by calling the </a:t>
            </a:r>
            <a:r>
              <a:rPr lang="en-US" dirty="0" err="1">
                <a:solidFill>
                  <a:srgbClr val="0070C0"/>
                </a:solidFill>
                <a:latin typeface="Consolas" charset="0"/>
                <a:ea typeface="Consolas" charset="0"/>
                <a:cs typeface="Consolas" charset="0"/>
              </a:rPr>
              <a:t>printSchema</a:t>
            </a:r>
            <a:r>
              <a:rPr lang="en-US" dirty="0">
                <a:solidFill>
                  <a:srgbClr val="0070C0"/>
                </a:solidFill>
                <a:latin typeface="Consolas" charset="0"/>
                <a:ea typeface="Consolas" charset="0"/>
                <a:cs typeface="Consolas" charset="0"/>
              </a:rPr>
              <a:t>()</a:t>
            </a:r>
            <a:r>
              <a:rPr lang="en-US" dirty="0">
                <a:solidFill>
                  <a:srgbClr val="0070C0"/>
                </a:solidFill>
                <a:latin typeface="Source Sans Pro Light" charset="0"/>
                <a:ea typeface="Source Sans Pro Light" charset="0"/>
                <a:cs typeface="Source Sans Pro Light" charset="0"/>
              </a:rPr>
              <a:t> </a:t>
            </a:r>
            <a:r>
              <a:rPr lang="en-US" dirty="0"/>
              <a:t>method.  (This is mostly useful in the shell.)</a:t>
            </a:r>
          </a:p>
          <a:p>
            <a:endParaRPr lang="en-US" dirty="0"/>
          </a:p>
        </p:txBody>
      </p:sp>
      <p:sp>
        <p:nvSpPr>
          <p:cNvPr id="6" name="Rectangle 5"/>
          <p:cNvSpPr/>
          <p:nvPr/>
        </p:nvSpPr>
        <p:spPr>
          <a:xfrm>
            <a:off x="2214974" y="3282486"/>
            <a:ext cx="7421951" cy="2240057"/>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sz="2100" dirty="0">
                <a:latin typeface="Consolas" charset="0"/>
                <a:ea typeface="Consolas" charset="0"/>
                <a:cs typeface="Consolas" charset="0"/>
              </a:rPr>
              <a:t>&gt; </a:t>
            </a:r>
            <a:r>
              <a:rPr lang="en-US" sz="2100" b="1" dirty="0" err="1">
                <a:latin typeface="Consolas" charset="0"/>
                <a:ea typeface="Consolas" charset="0"/>
                <a:cs typeface="Consolas" charset="0"/>
              </a:rPr>
              <a:t>df.printSchema</a:t>
            </a:r>
            <a:r>
              <a:rPr lang="en-US" sz="2100" b="1" dirty="0">
                <a:latin typeface="Consolas" charset="0"/>
                <a:ea typeface="Consolas" charset="0"/>
                <a:cs typeface="Consolas" charset="0"/>
              </a:rPr>
              <a:t>()</a:t>
            </a:r>
          </a:p>
          <a:p>
            <a:r>
              <a:rPr lang="en-US" sz="2100" dirty="0">
                <a:latin typeface="Consolas" charset="0"/>
                <a:ea typeface="Consolas" charset="0"/>
                <a:cs typeface="Consolas" charset="0"/>
              </a:rPr>
              <a:t>root</a:t>
            </a:r>
            <a:br>
              <a:rPr lang="en-US" sz="2100" dirty="0">
                <a:latin typeface="Consolas" charset="0"/>
                <a:ea typeface="Consolas" charset="0"/>
                <a:cs typeface="Consolas" charset="0"/>
              </a:rPr>
            </a:br>
            <a:r>
              <a:rPr lang="en-US" sz="2100" dirty="0">
                <a:latin typeface="Consolas" charset="0"/>
                <a:ea typeface="Consolas" charset="0"/>
                <a:cs typeface="Consolas" charset="0"/>
              </a:rPr>
              <a:t> |-- </a:t>
            </a:r>
            <a:r>
              <a:rPr lang="en-US" sz="2100" dirty="0" err="1">
                <a:latin typeface="Consolas" charset="0"/>
                <a:ea typeface="Consolas" charset="0"/>
                <a:cs typeface="Consolas" charset="0"/>
              </a:rPr>
              <a:t>firstName</a:t>
            </a:r>
            <a:r>
              <a:rPr lang="en-US" sz="2100" dirty="0">
                <a:latin typeface="Consolas" charset="0"/>
                <a:ea typeface="Consolas" charset="0"/>
                <a:cs typeface="Consolas" charset="0"/>
              </a:rPr>
              <a:t>: string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true)</a:t>
            </a:r>
            <a:br>
              <a:rPr lang="en-US" sz="2100" dirty="0">
                <a:latin typeface="Consolas" charset="0"/>
                <a:ea typeface="Consolas" charset="0"/>
                <a:cs typeface="Consolas" charset="0"/>
              </a:rPr>
            </a:br>
            <a:r>
              <a:rPr lang="en-US" sz="2100" dirty="0">
                <a:latin typeface="Consolas" charset="0"/>
                <a:ea typeface="Consolas" charset="0"/>
                <a:cs typeface="Consolas" charset="0"/>
              </a:rPr>
              <a:t> |-- </a:t>
            </a:r>
            <a:r>
              <a:rPr lang="en-US" sz="2100" dirty="0" err="1">
                <a:latin typeface="Consolas" charset="0"/>
                <a:ea typeface="Consolas" charset="0"/>
                <a:cs typeface="Consolas" charset="0"/>
              </a:rPr>
              <a:t>lastName</a:t>
            </a:r>
            <a:r>
              <a:rPr lang="en-US" sz="2100" dirty="0">
                <a:latin typeface="Consolas" charset="0"/>
                <a:ea typeface="Consolas" charset="0"/>
                <a:cs typeface="Consolas" charset="0"/>
              </a:rPr>
              <a:t>: string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true)</a:t>
            </a:r>
            <a:br>
              <a:rPr lang="en-US" sz="2100" dirty="0">
                <a:latin typeface="Consolas" charset="0"/>
                <a:ea typeface="Consolas" charset="0"/>
                <a:cs typeface="Consolas" charset="0"/>
              </a:rPr>
            </a:br>
            <a:r>
              <a:rPr lang="en-US" sz="2100" dirty="0">
                <a:latin typeface="Consolas" charset="0"/>
                <a:ea typeface="Consolas" charset="0"/>
                <a:cs typeface="Consolas" charset="0"/>
              </a:rPr>
              <a:t> |-- gender: string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true)</a:t>
            </a:r>
            <a:br>
              <a:rPr lang="en-US" sz="2100" dirty="0">
                <a:latin typeface="Consolas" charset="0"/>
                <a:ea typeface="Consolas" charset="0"/>
                <a:cs typeface="Consolas" charset="0"/>
              </a:rPr>
            </a:br>
            <a:r>
              <a:rPr lang="en-US" sz="2100" dirty="0">
                <a:latin typeface="Consolas" charset="0"/>
                <a:ea typeface="Consolas" charset="0"/>
                <a:cs typeface="Consolas" charset="0"/>
              </a:rPr>
              <a:t> |-- age: integer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false)</a:t>
            </a:r>
          </a:p>
        </p:txBody>
      </p:sp>
    </p:spTree>
    <p:extLst>
      <p:ext uri="{BB962C8B-B14F-4D97-AF65-F5344CB8AC3E}">
        <p14:creationId xmlns:p14="http://schemas.microsoft.com/office/powerpoint/2010/main" val="406249465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hema Inference</a:t>
            </a:r>
          </a:p>
        </p:txBody>
      </p:sp>
      <p:sp>
        <p:nvSpPr>
          <p:cNvPr id="3" name="Content Placeholder 2"/>
          <p:cNvSpPr>
            <a:spLocks noGrp="1"/>
          </p:cNvSpPr>
          <p:nvPr>
            <p:ph idx="1"/>
          </p:nvPr>
        </p:nvSpPr>
        <p:spPr>
          <a:xfrm>
            <a:off x="648769" y="1594339"/>
            <a:ext cx="10913534" cy="4787413"/>
          </a:xfrm>
        </p:spPr>
        <p:txBody>
          <a:bodyPr>
            <a:noAutofit/>
          </a:bodyPr>
          <a:lstStyle/>
          <a:p>
            <a:pPr marL="0" indent="0">
              <a:spcBef>
                <a:spcPts val="1333"/>
              </a:spcBef>
              <a:buNone/>
            </a:pPr>
            <a:r>
              <a:rPr lang="en-US" dirty="0"/>
              <a:t>Some data sources (e.g., Parquet) can expose a formal schema; others (e.g., plain text files) don’t. How do we fix that?</a:t>
            </a:r>
          </a:p>
          <a:p>
            <a:pPr>
              <a:spcBef>
                <a:spcPts val="1333"/>
              </a:spcBef>
            </a:pPr>
            <a:endParaRPr lang="en-US" sz="2900" dirty="0"/>
          </a:p>
          <a:p>
            <a:pPr>
              <a:spcBef>
                <a:spcPts val="1333"/>
              </a:spcBef>
            </a:pPr>
            <a:r>
              <a:rPr lang="en-US" sz="2800" dirty="0"/>
              <a:t>You can create an RDD of a particular type and let Spark infer the schema from that type. We’ll see how to do that in a moment.</a:t>
            </a:r>
          </a:p>
          <a:p>
            <a:pPr>
              <a:spcBef>
                <a:spcPts val="1333"/>
              </a:spcBef>
            </a:pPr>
            <a:r>
              <a:rPr lang="en-US" sz="2800" dirty="0"/>
              <a:t>You can use the API to specify the schema programmatically.</a:t>
            </a:r>
          </a:p>
        </p:txBody>
      </p:sp>
    </p:spTree>
    <p:extLst>
      <p:ext uri="{BB962C8B-B14F-4D97-AF65-F5344CB8AC3E}">
        <p14:creationId xmlns:p14="http://schemas.microsoft.com/office/powerpoint/2010/main" val="130452763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4"/>
          <p:cNvSpPr/>
          <p:nvPr/>
        </p:nvSpPr>
        <p:spPr>
          <a:xfrm>
            <a:off x="2082801" y="2018429"/>
            <a:ext cx="4229100" cy="3528483"/>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54 h 3060754"/>
              <a:gd name="connsiteX1" fmla="*/ 4330019 w 8724954"/>
              <a:gd name="connsiteY1" fmla="*/ 236532 h 3060754"/>
              <a:gd name="connsiteX2" fmla="*/ 8724954 w 8724954"/>
              <a:gd name="connsiteY2" fmla="*/ 54 h 3060754"/>
              <a:gd name="connsiteX3" fmla="*/ 8455772 w 8724954"/>
              <a:gd name="connsiteY3" fmla="*/ 1421314 h 3060754"/>
              <a:gd name="connsiteX4" fmla="*/ 8724954 w 8724954"/>
              <a:gd name="connsiteY4" fmla="*/ 3060754 h 3060754"/>
              <a:gd name="connsiteX5" fmla="*/ 4379072 w 8724954"/>
              <a:gd name="connsiteY5" fmla="*/ 2691314 h 3060754"/>
              <a:gd name="connsiteX6" fmla="*/ 54 w 8724954"/>
              <a:gd name="connsiteY6" fmla="*/ 3060754 h 3060754"/>
              <a:gd name="connsiteX7" fmla="*/ 340472 w 8724954"/>
              <a:gd name="connsiteY7" fmla="*/ 1345114 h 3060754"/>
              <a:gd name="connsiteX8" fmla="*/ 54 w 8724954"/>
              <a:gd name="connsiteY8" fmla="*/ 54 h 3060754"/>
              <a:gd name="connsiteX0" fmla="*/ 54 w 8724954"/>
              <a:gd name="connsiteY0" fmla="*/ 54 h 3060754"/>
              <a:gd name="connsiteX1" fmla="*/ 4330019 w 8724954"/>
              <a:gd name="connsiteY1" fmla="*/ 236532 h 3060754"/>
              <a:gd name="connsiteX2" fmla="*/ 8724954 w 8724954"/>
              <a:gd name="connsiteY2" fmla="*/ 54 h 3060754"/>
              <a:gd name="connsiteX3" fmla="*/ 8455772 w 8724954"/>
              <a:gd name="connsiteY3" fmla="*/ 1421314 h 3060754"/>
              <a:gd name="connsiteX4" fmla="*/ 8724954 w 8724954"/>
              <a:gd name="connsiteY4" fmla="*/ 3060754 h 3060754"/>
              <a:gd name="connsiteX5" fmla="*/ 4379072 w 8724954"/>
              <a:gd name="connsiteY5" fmla="*/ 2762208 h 3060754"/>
              <a:gd name="connsiteX6" fmla="*/ 54 w 8724954"/>
              <a:gd name="connsiteY6" fmla="*/ 3060754 h 3060754"/>
              <a:gd name="connsiteX7" fmla="*/ 340472 w 8724954"/>
              <a:gd name="connsiteY7" fmla="*/ 1345114 h 3060754"/>
              <a:gd name="connsiteX8" fmla="*/ 54 w 8724954"/>
              <a:gd name="connsiteY8" fmla="*/ 54 h 3060754"/>
              <a:gd name="connsiteX0" fmla="*/ 1 w 8724901"/>
              <a:gd name="connsiteY0" fmla="*/ 54 h 3060754"/>
              <a:gd name="connsiteX1" fmla="*/ 4329966 w 8724901"/>
              <a:gd name="connsiteY1" fmla="*/ 236532 h 3060754"/>
              <a:gd name="connsiteX2" fmla="*/ 8724901 w 8724901"/>
              <a:gd name="connsiteY2" fmla="*/ 54 h 3060754"/>
              <a:gd name="connsiteX3" fmla="*/ 8455719 w 8724901"/>
              <a:gd name="connsiteY3" fmla="*/ 1421314 h 3060754"/>
              <a:gd name="connsiteX4" fmla="*/ 8724901 w 8724901"/>
              <a:gd name="connsiteY4" fmla="*/ 3060754 h 3060754"/>
              <a:gd name="connsiteX5" fmla="*/ 4379019 w 8724901"/>
              <a:gd name="connsiteY5" fmla="*/ 2762208 h 3060754"/>
              <a:gd name="connsiteX6" fmla="*/ 125164 w 8724901"/>
              <a:gd name="connsiteY6" fmla="*/ 3030371 h 3060754"/>
              <a:gd name="connsiteX7" fmla="*/ 340419 w 8724901"/>
              <a:gd name="connsiteY7" fmla="*/ 1345114 h 3060754"/>
              <a:gd name="connsiteX8" fmla="*/ 1 w 8724901"/>
              <a:gd name="connsiteY8" fmla="*/ 54 h 3060754"/>
              <a:gd name="connsiteX0" fmla="*/ -1 w 8724899"/>
              <a:gd name="connsiteY0" fmla="*/ 54 h 3060754"/>
              <a:gd name="connsiteX1" fmla="*/ 4329964 w 8724899"/>
              <a:gd name="connsiteY1" fmla="*/ 236532 h 3060754"/>
              <a:gd name="connsiteX2" fmla="*/ 8724899 w 8724899"/>
              <a:gd name="connsiteY2" fmla="*/ 54 h 3060754"/>
              <a:gd name="connsiteX3" fmla="*/ 8455717 w 8724899"/>
              <a:gd name="connsiteY3" fmla="*/ 1421314 h 3060754"/>
              <a:gd name="connsiteX4" fmla="*/ 8724899 w 8724899"/>
              <a:gd name="connsiteY4" fmla="*/ 3060754 h 3060754"/>
              <a:gd name="connsiteX5" fmla="*/ 4379017 w 8724899"/>
              <a:gd name="connsiteY5" fmla="*/ 2762208 h 3060754"/>
              <a:gd name="connsiteX6" fmla="*/ 25031 w 8724899"/>
              <a:gd name="connsiteY6" fmla="*/ 3030371 h 3060754"/>
              <a:gd name="connsiteX7" fmla="*/ 340417 w 8724899"/>
              <a:gd name="connsiteY7" fmla="*/ 1345114 h 3060754"/>
              <a:gd name="connsiteX8" fmla="*/ -1 w 8724899"/>
              <a:gd name="connsiteY8" fmla="*/ 54 h 3060754"/>
              <a:gd name="connsiteX0" fmla="*/ 1 w 8724901"/>
              <a:gd name="connsiteY0" fmla="*/ 54 h 3081009"/>
              <a:gd name="connsiteX1" fmla="*/ 4329966 w 8724901"/>
              <a:gd name="connsiteY1" fmla="*/ 236532 h 3081009"/>
              <a:gd name="connsiteX2" fmla="*/ 8724901 w 8724901"/>
              <a:gd name="connsiteY2" fmla="*/ 54 h 3081009"/>
              <a:gd name="connsiteX3" fmla="*/ 8455719 w 8724901"/>
              <a:gd name="connsiteY3" fmla="*/ 1421314 h 3081009"/>
              <a:gd name="connsiteX4" fmla="*/ 8724901 w 8724901"/>
              <a:gd name="connsiteY4" fmla="*/ 3060754 h 3081009"/>
              <a:gd name="connsiteX5" fmla="*/ 4379019 w 8724901"/>
              <a:gd name="connsiteY5" fmla="*/ 2762208 h 3081009"/>
              <a:gd name="connsiteX6" fmla="*/ 50066 w 8724901"/>
              <a:gd name="connsiteY6" fmla="*/ 3081009 h 3081009"/>
              <a:gd name="connsiteX7" fmla="*/ 340419 w 8724901"/>
              <a:gd name="connsiteY7" fmla="*/ 1345114 h 3081009"/>
              <a:gd name="connsiteX8" fmla="*/ 1 w 8724901"/>
              <a:gd name="connsiteY8" fmla="*/ 54 h 3081009"/>
              <a:gd name="connsiteX0" fmla="*/ -1 w 8724899"/>
              <a:gd name="connsiteY0" fmla="*/ 54 h 3081009"/>
              <a:gd name="connsiteX1" fmla="*/ 4329964 w 8724899"/>
              <a:gd name="connsiteY1" fmla="*/ 236532 h 3081009"/>
              <a:gd name="connsiteX2" fmla="*/ 8724899 w 8724899"/>
              <a:gd name="connsiteY2" fmla="*/ 54 h 3081009"/>
              <a:gd name="connsiteX3" fmla="*/ 8455717 w 8724899"/>
              <a:gd name="connsiteY3" fmla="*/ 1421314 h 3081009"/>
              <a:gd name="connsiteX4" fmla="*/ 8724899 w 8724899"/>
              <a:gd name="connsiteY4" fmla="*/ 3060754 h 3081009"/>
              <a:gd name="connsiteX5" fmla="*/ 4404049 w 8724899"/>
              <a:gd name="connsiteY5" fmla="*/ 2934379 h 3081009"/>
              <a:gd name="connsiteX6" fmla="*/ 50064 w 8724899"/>
              <a:gd name="connsiteY6" fmla="*/ 3081009 h 3081009"/>
              <a:gd name="connsiteX7" fmla="*/ 340417 w 8724899"/>
              <a:gd name="connsiteY7" fmla="*/ 1345114 h 3081009"/>
              <a:gd name="connsiteX8" fmla="*/ -1 w 8724899"/>
              <a:gd name="connsiteY8" fmla="*/ 54 h 3081009"/>
              <a:gd name="connsiteX0" fmla="*/ 1 w 8724901"/>
              <a:gd name="connsiteY0" fmla="*/ 106 h 3081061"/>
              <a:gd name="connsiteX1" fmla="*/ 4405064 w 8724901"/>
              <a:gd name="connsiteY1" fmla="*/ 115052 h 3081061"/>
              <a:gd name="connsiteX2" fmla="*/ 8724901 w 8724901"/>
              <a:gd name="connsiteY2" fmla="*/ 106 h 3081061"/>
              <a:gd name="connsiteX3" fmla="*/ 8455719 w 8724901"/>
              <a:gd name="connsiteY3" fmla="*/ 1421366 h 3081061"/>
              <a:gd name="connsiteX4" fmla="*/ 8724901 w 8724901"/>
              <a:gd name="connsiteY4" fmla="*/ 3060806 h 3081061"/>
              <a:gd name="connsiteX5" fmla="*/ 4404051 w 8724901"/>
              <a:gd name="connsiteY5" fmla="*/ 2934431 h 3081061"/>
              <a:gd name="connsiteX6" fmla="*/ 50066 w 8724901"/>
              <a:gd name="connsiteY6" fmla="*/ 3081061 h 3081061"/>
              <a:gd name="connsiteX7" fmla="*/ 340419 w 8724901"/>
              <a:gd name="connsiteY7" fmla="*/ 1345166 h 3081061"/>
              <a:gd name="connsiteX8" fmla="*/ 1 w 8724901"/>
              <a:gd name="connsiteY8" fmla="*/ 106 h 3081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01" h="3081061">
                <a:moveTo>
                  <a:pt x="1" y="106"/>
                </a:moveTo>
                <a:cubicBezTo>
                  <a:pt x="1435101" y="-4127"/>
                  <a:pt x="2969964" y="119285"/>
                  <a:pt x="4405064" y="115052"/>
                </a:cubicBezTo>
                <a:lnTo>
                  <a:pt x="8724901" y="106"/>
                </a:lnTo>
                <a:cubicBezTo>
                  <a:pt x="8724074" y="444226"/>
                  <a:pt x="8456546" y="977246"/>
                  <a:pt x="8455719" y="1421366"/>
                </a:cubicBezTo>
                <a:lnTo>
                  <a:pt x="8724901" y="3060806"/>
                </a:lnTo>
                <a:cubicBezTo>
                  <a:pt x="7280507" y="3056193"/>
                  <a:pt x="5848445" y="2939044"/>
                  <a:pt x="4404051" y="2934431"/>
                </a:cubicBezTo>
                <a:lnTo>
                  <a:pt x="50066" y="3081061"/>
                </a:lnTo>
                <a:cubicBezTo>
                  <a:pt x="45005" y="2509181"/>
                  <a:pt x="345480" y="1917046"/>
                  <a:pt x="340419" y="1345166"/>
                </a:cubicBezTo>
                <a:lnTo>
                  <a:pt x="1" y="106"/>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1524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p:txBody>
          <a:bodyPr/>
          <a:lstStyle/>
          <a:p>
            <a:r>
              <a:rPr lang="en-US" dirty="0"/>
              <a:t>Schema Inference Example</a:t>
            </a:r>
          </a:p>
        </p:txBody>
      </p:sp>
      <p:sp>
        <p:nvSpPr>
          <p:cNvPr id="3" name="Content Placeholder 2"/>
          <p:cNvSpPr>
            <a:spLocks noGrp="1"/>
          </p:cNvSpPr>
          <p:nvPr>
            <p:ph idx="1"/>
          </p:nvPr>
        </p:nvSpPr>
        <p:spPr>
          <a:xfrm>
            <a:off x="1987291" y="1333025"/>
            <a:ext cx="8158197" cy="737745"/>
          </a:xfrm>
        </p:spPr>
        <p:txBody>
          <a:bodyPr>
            <a:normAutofit fontScale="77500" lnSpcReduction="20000"/>
          </a:bodyPr>
          <a:lstStyle/>
          <a:p>
            <a:r>
              <a:rPr lang="en-US" dirty="0"/>
              <a:t>Suppose you have a (text) file that looks like this:</a:t>
            </a:r>
          </a:p>
          <a:p>
            <a:endParaRPr lang="en-US" dirty="0"/>
          </a:p>
        </p:txBody>
      </p:sp>
      <p:sp>
        <p:nvSpPr>
          <p:cNvPr id="7" name="Rectangle 6"/>
          <p:cNvSpPr/>
          <p:nvPr/>
        </p:nvSpPr>
        <p:spPr>
          <a:xfrm>
            <a:off x="6413760" y="2119365"/>
            <a:ext cx="4327785" cy="3139321"/>
          </a:xfrm>
          <a:prstGeom prst="rect">
            <a:avLst/>
          </a:prstGeom>
        </p:spPr>
        <p:txBody>
          <a:bodyPr wrap="square" lIns="121917" tIns="60958" rIns="121917" bIns="60958">
            <a:spAutoFit/>
          </a:bodyPr>
          <a:lstStyle/>
          <a:p>
            <a:r>
              <a:rPr lang="en-US" sz="2800" dirty="0">
                <a:latin typeface="Source Sans Pro Light" charset="0"/>
                <a:ea typeface="Source Sans Pro Light" charset="0"/>
                <a:cs typeface="Source Sans Pro Light" charset="0"/>
              </a:rPr>
              <a:t>The file has no schema, but it’s obvious there </a:t>
            </a:r>
            <a:r>
              <a:rPr lang="en-US" sz="2800" i="1" dirty="0">
                <a:latin typeface="Source Sans Pro Light" charset="0"/>
                <a:ea typeface="Source Sans Pro Light" charset="0"/>
                <a:cs typeface="Source Sans Pro Light" charset="0"/>
              </a:rPr>
              <a:t>is</a:t>
            </a:r>
            <a:r>
              <a:rPr lang="en-US" sz="2800" dirty="0">
                <a:latin typeface="Source Sans Pro Light" charset="0"/>
                <a:ea typeface="Source Sans Pro Light" charset="0"/>
                <a:cs typeface="Source Sans Pro Light" charset="0"/>
              </a:rPr>
              <a:t> one:</a:t>
            </a:r>
          </a:p>
          <a:p>
            <a:endParaRPr lang="en-US" sz="2800" dirty="0">
              <a:latin typeface="Source Sans Pro Light" charset="0"/>
              <a:ea typeface="Source Sans Pro Light" charset="0"/>
              <a:cs typeface="Source Sans Pro Light" charset="0"/>
            </a:endParaRPr>
          </a:p>
          <a:p>
            <a:r>
              <a:rPr lang="en-US" sz="2800" dirty="0">
                <a:latin typeface="Source Sans Pro Light" charset="0"/>
                <a:ea typeface="Source Sans Pro Light" charset="0"/>
                <a:cs typeface="Source Sans Pro Light" charset="0"/>
              </a:rPr>
              <a:t>First name:	</a:t>
            </a:r>
            <a:r>
              <a:rPr lang="en-US" sz="2800" i="1" dirty="0">
                <a:latin typeface="Source Sans Pro Light" charset="0"/>
                <a:ea typeface="Source Sans Pro Light" charset="0"/>
                <a:cs typeface="Source Sans Pro Light" charset="0"/>
              </a:rPr>
              <a:t>string</a:t>
            </a:r>
            <a:r>
              <a:rPr lang="en-US" sz="2800" dirty="0">
                <a:latin typeface="Source Sans Pro Light" charset="0"/>
                <a:ea typeface="Source Sans Pro Light" charset="0"/>
                <a:cs typeface="Source Sans Pro Light" charset="0"/>
              </a:rPr>
              <a:t/>
            </a:r>
            <a:br>
              <a:rPr lang="en-US" sz="2800" dirty="0">
                <a:latin typeface="Source Sans Pro Light" charset="0"/>
                <a:ea typeface="Source Sans Pro Light" charset="0"/>
                <a:cs typeface="Source Sans Pro Light" charset="0"/>
              </a:rPr>
            </a:br>
            <a:r>
              <a:rPr lang="en-US" sz="2800" dirty="0">
                <a:latin typeface="Source Sans Pro Light" charset="0"/>
                <a:ea typeface="Source Sans Pro Light" charset="0"/>
                <a:cs typeface="Source Sans Pro Light" charset="0"/>
              </a:rPr>
              <a:t>Last name:	</a:t>
            </a:r>
            <a:r>
              <a:rPr lang="en-US" sz="2800" i="1" dirty="0">
                <a:latin typeface="Source Sans Pro Light" charset="0"/>
                <a:ea typeface="Source Sans Pro Light" charset="0"/>
                <a:cs typeface="Source Sans Pro Light" charset="0"/>
              </a:rPr>
              <a:t>string</a:t>
            </a:r>
            <a:br>
              <a:rPr lang="en-US" sz="2800" i="1" dirty="0">
                <a:latin typeface="Source Sans Pro Light" charset="0"/>
                <a:ea typeface="Source Sans Pro Light" charset="0"/>
                <a:cs typeface="Source Sans Pro Light" charset="0"/>
              </a:rPr>
            </a:br>
            <a:r>
              <a:rPr lang="en-US" sz="2800" dirty="0">
                <a:latin typeface="Source Sans Pro Light" charset="0"/>
                <a:ea typeface="Source Sans Pro Light" charset="0"/>
                <a:cs typeface="Source Sans Pro Light" charset="0"/>
              </a:rPr>
              <a:t>Gender:		</a:t>
            </a:r>
            <a:r>
              <a:rPr lang="en-US" sz="2800" i="1" dirty="0">
                <a:latin typeface="Source Sans Pro Light" charset="0"/>
                <a:ea typeface="Source Sans Pro Light" charset="0"/>
                <a:cs typeface="Source Sans Pro Light" charset="0"/>
              </a:rPr>
              <a:t>string</a:t>
            </a:r>
            <a:br>
              <a:rPr lang="en-US" sz="2800" i="1" dirty="0">
                <a:latin typeface="Source Sans Pro Light" charset="0"/>
                <a:ea typeface="Source Sans Pro Light" charset="0"/>
                <a:cs typeface="Source Sans Pro Light" charset="0"/>
              </a:rPr>
            </a:br>
            <a:r>
              <a:rPr lang="en-US" sz="2800" dirty="0">
                <a:latin typeface="Source Sans Pro Light" charset="0"/>
                <a:ea typeface="Source Sans Pro Light" charset="0"/>
                <a:cs typeface="Source Sans Pro Light" charset="0"/>
              </a:rPr>
              <a:t>Age:			</a:t>
            </a:r>
            <a:r>
              <a:rPr lang="en-US" sz="2800" i="1" dirty="0">
                <a:latin typeface="Source Sans Pro Light" charset="0"/>
                <a:ea typeface="Source Sans Pro Light" charset="0"/>
                <a:cs typeface="Source Sans Pro Light" charset="0"/>
              </a:rPr>
              <a:t>integer</a:t>
            </a:r>
            <a:endParaRPr lang="en-US" sz="2800" dirty="0">
              <a:latin typeface="Source Sans Pro Light" charset="0"/>
              <a:ea typeface="Source Sans Pro Light" charset="0"/>
              <a:cs typeface="Source Sans Pro Light" charset="0"/>
            </a:endParaRPr>
          </a:p>
        </p:txBody>
      </p:sp>
      <p:sp>
        <p:nvSpPr>
          <p:cNvPr id="9" name="TextBox 8"/>
          <p:cNvSpPr txBox="1"/>
          <p:nvPr/>
        </p:nvSpPr>
        <p:spPr>
          <a:xfrm>
            <a:off x="1987291" y="5748571"/>
            <a:ext cx="8556885" cy="553997"/>
          </a:xfrm>
          <a:prstGeom prst="rect">
            <a:avLst/>
          </a:prstGeom>
          <a:noFill/>
        </p:spPr>
        <p:txBody>
          <a:bodyPr wrap="square" lIns="121917" tIns="60958" rIns="121917" bIns="60958" rtlCol="0">
            <a:spAutoFit/>
          </a:bodyPr>
          <a:lstStyle/>
          <a:p>
            <a:r>
              <a:rPr lang="en-US" sz="2800" dirty="0">
                <a:latin typeface="Source Sans Pro Light" charset="0"/>
                <a:ea typeface="Source Sans Pro Light" charset="0"/>
                <a:cs typeface="Source Sans Pro Light" charset="0"/>
              </a:rPr>
              <a:t>Let’s see how to get Spark to infer the schema.</a:t>
            </a:r>
          </a:p>
        </p:txBody>
      </p:sp>
      <p:sp>
        <p:nvSpPr>
          <p:cNvPr id="10" name="Rectangle 9"/>
          <p:cNvSpPr/>
          <p:nvPr/>
        </p:nvSpPr>
        <p:spPr>
          <a:xfrm>
            <a:off x="2237798" y="2119363"/>
            <a:ext cx="3925455" cy="3325588"/>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marL="119060" lvl="1"/>
            <a:r>
              <a:rPr lang="en-US" dirty="0">
                <a:latin typeface="Consolas" charset="0"/>
                <a:ea typeface="Consolas" charset="0"/>
                <a:cs typeface="Consolas" charset="0"/>
              </a:rPr>
              <a:t>Erin,Shannon,F,42</a:t>
            </a:r>
          </a:p>
          <a:p>
            <a:pPr marL="119060" lvl="1"/>
            <a:r>
              <a:rPr lang="en-US" dirty="0">
                <a:latin typeface="Consolas" charset="0"/>
                <a:ea typeface="Consolas" charset="0"/>
                <a:cs typeface="Consolas" charset="0"/>
              </a:rPr>
              <a:t>Norman,Lockwood,M,81</a:t>
            </a:r>
          </a:p>
          <a:p>
            <a:pPr marL="119060" lvl="1"/>
            <a:r>
              <a:rPr lang="en-US" dirty="0">
                <a:latin typeface="Consolas" charset="0"/>
                <a:ea typeface="Consolas" charset="0"/>
                <a:cs typeface="Consolas" charset="0"/>
              </a:rPr>
              <a:t>Miguel,Ruiz,M,64</a:t>
            </a:r>
          </a:p>
          <a:p>
            <a:pPr marL="119060" lvl="1"/>
            <a:r>
              <a:rPr lang="en-US" dirty="0">
                <a:latin typeface="Consolas" charset="0"/>
                <a:ea typeface="Consolas" charset="0"/>
                <a:cs typeface="Consolas" charset="0"/>
              </a:rPr>
              <a:t>Rosalita,Ramirez,F,14</a:t>
            </a:r>
          </a:p>
          <a:p>
            <a:pPr marL="119060" lvl="1"/>
            <a:r>
              <a:rPr lang="en-US" dirty="0">
                <a:latin typeface="Consolas" charset="0"/>
                <a:ea typeface="Consolas" charset="0"/>
                <a:cs typeface="Consolas" charset="0"/>
              </a:rPr>
              <a:t>Ally,Garcia,F,39</a:t>
            </a:r>
          </a:p>
          <a:p>
            <a:pPr marL="119060" lvl="1"/>
            <a:r>
              <a:rPr lang="en-US" dirty="0">
                <a:latin typeface="Consolas" charset="0"/>
                <a:ea typeface="Consolas" charset="0"/>
                <a:cs typeface="Consolas" charset="0"/>
              </a:rPr>
              <a:t>Claire,McBride,F,23</a:t>
            </a:r>
          </a:p>
          <a:p>
            <a:pPr marL="119060" lvl="1"/>
            <a:r>
              <a:rPr lang="en-US" dirty="0">
                <a:latin typeface="Consolas" charset="0"/>
                <a:ea typeface="Consolas" charset="0"/>
                <a:cs typeface="Consolas" charset="0"/>
              </a:rPr>
              <a:t>Abigail,Cottrell,F,75</a:t>
            </a:r>
            <a:br>
              <a:rPr lang="en-US" dirty="0">
                <a:latin typeface="Consolas" charset="0"/>
                <a:ea typeface="Consolas" charset="0"/>
                <a:cs typeface="Consolas" charset="0"/>
              </a:rPr>
            </a:br>
            <a:r>
              <a:rPr lang="en-US" dirty="0">
                <a:latin typeface="Consolas" charset="0"/>
                <a:ea typeface="Consolas" charset="0"/>
                <a:cs typeface="Consolas" charset="0"/>
              </a:rPr>
              <a:t>José,Rivera,M,59</a:t>
            </a:r>
            <a:br>
              <a:rPr lang="en-US" dirty="0">
                <a:latin typeface="Consolas" charset="0"/>
                <a:ea typeface="Consolas" charset="0"/>
                <a:cs typeface="Consolas" charset="0"/>
              </a:rPr>
            </a:br>
            <a:r>
              <a:rPr lang="en-US" dirty="0">
                <a:latin typeface="Consolas" charset="0"/>
                <a:ea typeface="Consolas" charset="0"/>
                <a:cs typeface="Consolas" charset="0"/>
              </a:rPr>
              <a:t>Ravi,Dasgupta,M,25</a:t>
            </a:r>
            <a:br>
              <a:rPr lang="en-US" dirty="0">
                <a:latin typeface="Consolas" charset="0"/>
                <a:ea typeface="Consolas" charset="0"/>
                <a:cs typeface="Consolas" charset="0"/>
              </a:rPr>
            </a:br>
            <a:r>
              <a:rPr lang="en-US" dirty="0">
                <a:latin typeface="Consolas" charset="0"/>
                <a:ea typeface="Consolas" charset="0"/>
                <a:cs typeface="Consolas" charset="0"/>
              </a:rPr>
              <a:t>…</a:t>
            </a:r>
          </a:p>
        </p:txBody>
      </p:sp>
    </p:spTree>
    <p:extLst>
      <p:ext uri="{BB962C8B-B14F-4D97-AF65-F5344CB8AC3E}">
        <p14:creationId xmlns:p14="http://schemas.microsoft.com/office/powerpoint/2010/main" val="21214398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DataFrames</a:t>
            </a:r>
            <a:r>
              <a:rPr lang="en-US" dirty="0" smtClean="0"/>
              <a:t> API - motivation</a:t>
            </a:r>
            <a:endParaRPr lang="en-US" dirty="0"/>
          </a:p>
        </p:txBody>
      </p:sp>
      <p:sp>
        <p:nvSpPr>
          <p:cNvPr id="3" name="Content Placeholder 2"/>
          <p:cNvSpPr>
            <a:spLocks noGrp="1"/>
          </p:cNvSpPr>
          <p:nvPr>
            <p:ph idx="4294967295"/>
          </p:nvPr>
        </p:nvSpPr>
        <p:spPr>
          <a:xfrm>
            <a:off x="1987292" y="1565496"/>
            <a:ext cx="8876867" cy="5110843"/>
          </a:xfrm>
          <a:prstGeom prst="rect">
            <a:avLst/>
          </a:prstGeom>
        </p:spPr>
        <p:txBody>
          <a:bodyPr>
            <a:normAutofit fontScale="85000" lnSpcReduction="10000"/>
          </a:bodyPr>
          <a:lstStyle/>
          <a:p>
            <a:pPr>
              <a:spcBef>
                <a:spcPts val="1333"/>
              </a:spcBef>
            </a:pPr>
            <a:r>
              <a:rPr lang="en-US" dirty="0"/>
              <a:t>E</a:t>
            </a:r>
            <a:r>
              <a:rPr lang="en-US" dirty="0" smtClean="0"/>
              <a:t>nable </a:t>
            </a:r>
            <a:r>
              <a:rPr lang="en-US" dirty="0"/>
              <a:t>wider audiences beyond “Big Data” engineers to leverage the power of distributed </a:t>
            </a:r>
            <a:r>
              <a:rPr lang="en-US" dirty="0" smtClean="0"/>
              <a:t>processing</a:t>
            </a:r>
          </a:p>
          <a:p>
            <a:pPr>
              <a:spcBef>
                <a:spcPts val="1333"/>
              </a:spcBef>
            </a:pPr>
            <a:r>
              <a:rPr lang="en-US" dirty="0"/>
              <a:t>I</a:t>
            </a:r>
            <a:r>
              <a:rPr lang="en-US" dirty="0" smtClean="0"/>
              <a:t>nspired </a:t>
            </a:r>
            <a:r>
              <a:rPr lang="en-US" dirty="0"/>
              <a:t>by data frames in R and Python (</a:t>
            </a:r>
            <a:r>
              <a:rPr lang="en-US" dirty="0" smtClean="0"/>
              <a:t>Pandas)</a:t>
            </a:r>
          </a:p>
          <a:p>
            <a:pPr>
              <a:spcBef>
                <a:spcPts val="1333"/>
              </a:spcBef>
            </a:pPr>
            <a:r>
              <a:rPr lang="en-US" dirty="0"/>
              <a:t>D</a:t>
            </a:r>
            <a:r>
              <a:rPr lang="en-US" dirty="0" smtClean="0"/>
              <a:t>esigned </a:t>
            </a:r>
            <a:r>
              <a:rPr lang="en-US" dirty="0"/>
              <a:t>from the ground-up to support modern big data and data science </a:t>
            </a:r>
            <a:r>
              <a:rPr lang="en-US" dirty="0" smtClean="0"/>
              <a:t>applications</a:t>
            </a:r>
          </a:p>
          <a:p>
            <a:pPr>
              <a:spcBef>
                <a:spcPts val="1333"/>
              </a:spcBef>
            </a:pPr>
            <a:r>
              <a:rPr lang="en-US" dirty="0"/>
              <a:t>E</a:t>
            </a:r>
            <a:r>
              <a:rPr lang="en-US" dirty="0" smtClean="0"/>
              <a:t>xtension </a:t>
            </a:r>
            <a:r>
              <a:rPr lang="en-US" dirty="0"/>
              <a:t>to the existing RDD </a:t>
            </a:r>
            <a:r>
              <a:rPr lang="en-US" dirty="0" smtClean="0"/>
              <a:t>API</a:t>
            </a:r>
          </a:p>
          <a:p>
            <a:pPr marL="0" indent="0">
              <a:buNone/>
            </a:pPr>
            <a:r>
              <a:rPr lang="en-US" sz="2600" dirty="0" smtClean="0"/>
              <a:t>See </a:t>
            </a:r>
            <a:endParaRPr lang="en-US" sz="2600" dirty="0"/>
          </a:p>
          <a:p>
            <a:pPr lvl="1"/>
            <a:r>
              <a:rPr lang="en-US" sz="2100" dirty="0">
                <a:hlinkClick r:id="rId3"/>
              </a:rPr>
              <a:t>https://spark.apache.org/docs/latest/sql-programming-guide.html</a:t>
            </a:r>
            <a:r>
              <a:rPr lang="en-US" sz="2100" dirty="0"/>
              <a:t> </a:t>
            </a:r>
          </a:p>
          <a:p>
            <a:pPr lvl="1"/>
            <a:r>
              <a:rPr lang="en-US" sz="2100" dirty="0">
                <a:hlinkClick r:id="rId4"/>
              </a:rPr>
              <a:t>databricks.com/blog/2015/02/17/introducing-dataframes-in-spark-for-large-scale-data-</a:t>
            </a:r>
            <a:r>
              <a:rPr lang="en-US" sz="2100" dirty="0" smtClean="0">
                <a:hlinkClick r:id="rId4"/>
              </a:rPr>
              <a:t>science.html</a:t>
            </a:r>
            <a:endParaRPr lang="en-US" sz="2100" dirty="0"/>
          </a:p>
        </p:txBody>
      </p:sp>
    </p:spTree>
    <p:extLst>
      <p:ext uri="{BB962C8B-B14F-4D97-AF65-F5344CB8AC3E}">
        <p14:creationId xmlns:p14="http://schemas.microsoft.com/office/powerpoint/2010/main" val="17637471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chema Inference (Scala)</a:t>
            </a:r>
          </a:p>
        </p:txBody>
      </p:sp>
      <p:sp>
        <p:nvSpPr>
          <p:cNvPr id="8" name="Rectangle 4"/>
          <p:cNvSpPr/>
          <p:nvPr/>
        </p:nvSpPr>
        <p:spPr>
          <a:xfrm>
            <a:off x="339681" y="966452"/>
            <a:ext cx="11251305" cy="5498742"/>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10" name="Rectangle 9"/>
          <p:cNvSpPr/>
          <p:nvPr/>
        </p:nvSpPr>
        <p:spPr>
          <a:xfrm>
            <a:off x="580198" y="1181079"/>
            <a:ext cx="10772962" cy="5076791"/>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sz="2000" b="1" dirty="0">
                <a:solidFill>
                  <a:srgbClr val="7F0055"/>
                </a:solidFill>
                <a:latin typeface="Consolas" charset="0"/>
              </a:rPr>
              <a:t>import </a:t>
            </a:r>
            <a:r>
              <a:rPr lang="en-US" sz="2000" dirty="0" err="1">
                <a:solidFill>
                  <a:srgbClr val="000000"/>
                </a:solidFill>
                <a:latin typeface="Consolas" charset="0"/>
              </a:rPr>
              <a:t>sqlContext.implicits</a:t>
            </a:r>
            <a:r>
              <a:rPr lang="en-US" sz="2000" dirty="0">
                <a:solidFill>
                  <a:srgbClr val="000000"/>
                </a:solidFill>
                <a:latin typeface="Consolas" charset="0"/>
              </a:rPr>
              <a:t>._</a:t>
            </a:r>
          </a:p>
          <a:p>
            <a:endParaRPr lang="en-US" sz="2000" dirty="0">
              <a:solidFill>
                <a:srgbClr val="000000"/>
              </a:solidFill>
              <a:latin typeface="Consolas" charset="0"/>
            </a:endParaRPr>
          </a:p>
          <a:p>
            <a:r>
              <a:rPr lang="en-US" sz="2000" b="1" dirty="0">
                <a:solidFill>
                  <a:srgbClr val="7F0055"/>
                </a:solidFill>
                <a:latin typeface="Consolas" charset="0"/>
              </a:rPr>
              <a:t>case class </a:t>
            </a:r>
            <a:r>
              <a:rPr lang="en-US" sz="2000" dirty="0">
                <a:solidFill>
                  <a:srgbClr val="000000"/>
                </a:solidFill>
                <a:latin typeface="Consolas" charset="0"/>
              </a:rPr>
              <a:t>Person(</a:t>
            </a:r>
            <a:r>
              <a:rPr lang="en-US" sz="2000" dirty="0" err="1">
                <a:solidFill>
                  <a:srgbClr val="000000"/>
                </a:solidFill>
                <a:latin typeface="Consolas" charset="0"/>
              </a:rPr>
              <a:t>firstName</a:t>
            </a:r>
            <a:r>
              <a:rPr lang="en-US" sz="2000" dirty="0">
                <a:solidFill>
                  <a:srgbClr val="7F0055"/>
                </a:solidFill>
                <a:latin typeface="Consolas" charset="0"/>
              </a:rPr>
              <a:t>:</a:t>
            </a:r>
            <a:r>
              <a:rPr lang="en-US" sz="2000" b="1" dirty="0">
                <a:solidFill>
                  <a:srgbClr val="7F0055"/>
                </a:solidFill>
                <a:latin typeface="Consolas" charset="0"/>
              </a:rPr>
              <a:t> String,</a:t>
            </a:r>
          </a:p>
          <a:p>
            <a:r>
              <a:rPr lang="de-DE" sz="2000" dirty="0">
                <a:solidFill>
                  <a:srgbClr val="000000"/>
                </a:solidFill>
                <a:latin typeface="Consolas" charset="0"/>
              </a:rPr>
              <a:t>                  </a:t>
            </a:r>
            <a:r>
              <a:rPr lang="de-DE" sz="2000" dirty="0" err="1">
                <a:solidFill>
                  <a:srgbClr val="000000"/>
                </a:solidFill>
                <a:latin typeface="Consolas" charset="0"/>
              </a:rPr>
              <a:t>lastName</a:t>
            </a:r>
            <a:r>
              <a:rPr lang="de-DE" sz="2000" b="1" dirty="0">
                <a:solidFill>
                  <a:srgbClr val="7F0055"/>
                </a:solidFill>
                <a:latin typeface="Consolas" charset="0"/>
              </a:rPr>
              <a:t>:  String,</a:t>
            </a:r>
          </a:p>
          <a:p>
            <a:r>
              <a:rPr lang="de-DE" sz="2000" b="1" dirty="0">
                <a:solidFill>
                  <a:srgbClr val="7F0055"/>
                </a:solidFill>
                <a:latin typeface="Consolas" charset="0"/>
              </a:rPr>
              <a:t>                  </a:t>
            </a:r>
            <a:r>
              <a:rPr lang="de-DE" sz="2000" dirty="0" err="1">
                <a:solidFill>
                  <a:srgbClr val="000000"/>
                </a:solidFill>
                <a:latin typeface="Consolas" charset="0"/>
              </a:rPr>
              <a:t>gender</a:t>
            </a:r>
            <a:r>
              <a:rPr lang="de-DE" sz="2000" b="1" dirty="0">
                <a:solidFill>
                  <a:srgbClr val="7F0055"/>
                </a:solidFill>
                <a:latin typeface="Consolas" charset="0"/>
              </a:rPr>
              <a:t>:    String,</a:t>
            </a:r>
          </a:p>
          <a:p>
            <a:r>
              <a:rPr lang="de-DE" sz="2000" dirty="0">
                <a:solidFill>
                  <a:srgbClr val="000000"/>
                </a:solidFill>
                <a:latin typeface="Consolas" charset="0"/>
              </a:rPr>
              <a:t>                  </a:t>
            </a:r>
            <a:r>
              <a:rPr lang="de-DE" sz="2000" dirty="0" err="1">
                <a:solidFill>
                  <a:srgbClr val="000000"/>
                </a:solidFill>
                <a:latin typeface="Consolas" charset="0"/>
              </a:rPr>
              <a:t>age</a:t>
            </a:r>
            <a:r>
              <a:rPr lang="de-DE" sz="2000" b="1" dirty="0">
                <a:solidFill>
                  <a:srgbClr val="7F0055"/>
                </a:solidFill>
                <a:latin typeface="Consolas" charset="0"/>
              </a:rPr>
              <a:t>:       </a:t>
            </a:r>
            <a:r>
              <a:rPr lang="de-DE" sz="2000" b="1" dirty="0" err="1">
                <a:solidFill>
                  <a:srgbClr val="7F0055"/>
                </a:solidFill>
                <a:latin typeface="Consolas" charset="0"/>
              </a:rPr>
              <a:t>Int</a:t>
            </a:r>
            <a:r>
              <a:rPr lang="de-DE" sz="2000" dirty="0">
                <a:solidFill>
                  <a:schemeClr val="tx1"/>
                </a:solidFill>
                <a:latin typeface="Consolas" charset="0"/>
              </a:rPr>
              <a:t>)</a:t>
            </a:r>
          </a:p>
          <a:p>
            <a:endParaRPr lang="de-DE" sz="2000" dirty="0">
              <a:solidFill>
                <a:srgbClr val="000000"/>
              </a:solidFill>
              <a:latin typeface="Consolas" charset="0"/>
            </a:endParaRPr>
          </a:p>
          <a:p>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rdd</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sc.textFile</a:t>
            </a:r>
            <a:r>
              <a:rPr lang="de-DE" sz="2000" dirty="0">
                <a:solidFill>
                  <a:srgbClr val="000000"/>
                </a:solidFill>
                <a:latin typeface="Consolas" charset="0"/>
              </a:rPr>
              <a:t>(</a:t>
            </a:r>
            <a:r>
              <a:rPr lang="de-DE" sz="2000" dirty="0">
                <a:solidFill>
                  <a:srgbClr val="0000BB"/>
                </a:solidFill>
                <a:latin typeface="Consolas" charset="0"/>
              </a:rPr>
              <a:t>"</a:t>
            </a:r>
            <a:r>
              <a:rPr lang="de-DE" sz="2000" dirty="0" err="1">
                <a:solidFill>
                  <a:srgbClr val="0000BB"/>
                </a:solidFill>
                <a:latin typeface="Consolas" charset="0"/>
              </a:rPr>
              <a:t>people.csv</a:t>
            </a:r>
            <a:r>
              <a:rPr lang="de-DE" sz="2000" dirty="0">
                <a:solidFill>
                  <a:srgbClr val="0000BB"/>
                </a:solidFill>
                <a:latin typeface="Consolas" charset="0"/>
              </a:rPr>
              <a:t>")</a:t>
            </a:r>
          </a:p>
          <a:p>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peopleRDD</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rdd.map</a:t>
            </a:r>
            <a:r>
              <a:rPr lang="de-DE" sz="2000" dirty="0">
                <a:solidFill>
                  <a:srgbClr val="000000"/>
                </a:solidFill>
                <a:latin typeface="Consolas" charset="0"/>
              </a:rPr>
              <a:t> { </a:t>
            </a:r>
            <a:r>
              <a:rPr lang="de-DE" sz="2000" dirty="0" err="1">
                <a:solidFill>
                  <a:srgbClr val="000000"/>
                </a:solidFill>
                <a:latin typeface="Consolas" charset="0"/>
              </a:rPr>
              <a:t>line</a:t>
            </a:r>
            <a:r>
              <a:rPr lang="de-DE" sz="2000" dirty="0">
                <a:solidFill>
                  <a:srgbClr val="000000"/>
                </a:solidFill>
                <a:latin typeface="Consolas" charset="0"/>
              </a:rPr>
              <a:t> </a:t>
            </a:r>
            <a:r>
              <a:rPr lang="de-DE" sz="2000" dirty="0">
                <a:solidFill>
                  <a:srgbClr val="7F0055"/>
                </a:solidFill>
                <a:latin typeface="Consolas" charset="0"/>
              </a:rPr>
              <a:t>=&gt;</a:t>
            </a:r>
          </a:p>
          <a:p>
            <a:r>
              <a:rPr lang="de-DE" sz="2000" dirty="0">
                <a:solidFill>
                  <a:srgbClr val="000000"/>
                </a:solidFill>
                <a:latin typeface="Consolas" charset="0"/>
              </a:rPr>
              <a:t>  </a:t>
            </a:r>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cols</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line.split</a:t>
            </a:r>
            <a:r>
              <a:rPr lang="de-DE" sz="2000" dirty="0">
                <a:solidFill>
                  <a:srgbClr val="000000"/>
                </a:solidFill>
                <a:latin typeface="Consolas" charset="0"/>
              </a:rPr>
              <a:t>(</a:t>
            </a:r>
            <a:r>
              <a:rPr lang="de-DE" sz="2000" dirty="0">
                <a:solidFill>
                  <a:srgbClr val="0000BB"/>
                </a:solidFill>
                <a:latin typeface="Consolas" charset="0"/>
              </a:rPr>
              <a:t>",")</a:t>
            </a:r>
          </a:p>
          <a:p>
            <a:r>
              <a:rPr lang="de-DE" sz="2000" dirty="0">
                <a:solidFill>
                  <a:srgbClr val="000000"/>
                </a:solidFill>
                <a:latin typeface="Consolas" charset="0"/>
              </a:rPr>
              <a:t>  Person(</a:t>
            </a:r>
            <a:r>
              <a:rPr lang="de-DE" sz="2000" dirty="0" err="1">
                <a:solidFill>
                  <a:srgbClr val="000000"/>
                </a:solidFill>
                <a:latin typeface="Consolas" charset="0"/>
              </a:rPr>
              <a:t>cols</a:t>
            </a:r>
            <a:r>
              <a:rPr lang="de-DE" sz="2000" dirty="0">
                <a:solidFill>
                  <a:srgbClr val="000000"/>
                </a:solidFill>
                <a:latin typeface="Consolas" charset="0"/>
              </a:rPr>
              <a:t>(0), </a:t>
            </a:r>
            <a:r>
              <a:rPr lang="de-DE" sz="2000" dirty="0" err="1">
                <a:solidFill>
                  <a:srgbClr val="000000"/>
                </a:solidFill>
                <a:latin typeface="Consolas" charset="0"/>
              </a:rPr>
              <a:t>cols</a:t>
            </a:r>
            <a:r>
              <a:rPr lang="de-DE" sz="2000" dirty="0">
                <a:solidFill>
                  <a:srgbClr val="000000"/>
                </a:solidFill>
                <a:latin typeface="Consolas" charset="0"/>
              </a:rPr>
              <a:t>(1), </a:t>
            </a:r>
            <a:r>
              <a:rPr lang="de-DE" sz="2000" dirty="0" err="1">
                <a:solidFill>
                  <a:srgbClr val="000000"/>
                </a:solidFill>
                <a:latin typeface="Consolas" charset="0"/>
              </a:rPr>
              <a:t>cols</a:t>
            </a:r>
            <a:r>
              <a:rPr lang="de-DE" sz="2000" dirty="0">
                <a:solidFill>
                  <a:srgbClr val="000000"/>
                </a:solidFill>
                <a:latin typeface="Consolas" charset="0"/>
              </a:rPr>
              <a:t>(2), </a:t>
            </a:r>
            <a:r>
              <a:rPr lang="de-DE" sz="2000" dirty="0" err="1">
                <a:solidFill>
                  <a:srgbClr val="000000"/>
                </a:solidFill>
                <a:latin typeface="Consolas" charset="0"/>
              </a:rPr>
              <a:t>cols</a:t>
            </a:r>
            <a:r>
              <a:rPr lang="de-DE" sz="2000" dirty="0">
                <a:solidFill>
                  <a:srgbClr val="000000"/>
                </a:solidFill>
                <a:latin typeface="Consolas" charset="0"/>
              </a:rPr>
              <a:t>(3).</a:t>
            </a:r>
            <a:r>
              <a:rPr lang="de-DE" sz="2000" dirty="0" err="1">
                <a:solidFill>
                  <a:srgbClr val="000000"/>
                </a:solidFill>
                <a:latin typeface="Consolas" charset="0"/>
              </a:rPr>
              <a:t>toInt</a:t>
            </a:r>
            <a:r>
              <a:rPr lang="de-DE" sz="2000" dirty="0">
                <a:solidFill>
                  <a:srgbClr val="000000"/>
                </a:solidFill>
                <a:latin typeface="Consolas" charset="0"/>
              </a:rPr>
              <a:t>)</a:t>
            </a:r>
          </a:p>
          <a:p>
            <a:r>
              <a:rPr lang="de-DE" sz="2000" dirty="0">
                <a:solidFill>
                  <a:srgbClr val="000000"/>
                </a:solidFill>
                <a:latin typeface="Consolas" charset="0"/>
              </a:rPr>
              <a:t>}</a:t>
            </a:r>
          </a:p>
          <a:p>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df</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peopleRDD.toDF</a:t>
            </a:r>
            <a:endParaRPr lang="de-DE" sz="2000" dirty="0">
              <a:solidFill>
                <a:srgbClr val="000000"/>
              </a:solidFill>
              <a:latin typeface="Consolas" charset="0"/>
            </a:endParaRPr>
          </a:p>
          <a:p>
            <a:r>
              <a:rPr lang="de-DE" sz="2000" dirty="0">
                <a:solidFill>
                  <a:srgbClr val="00A019"/>
                </a:solidFill>
                <a:latin typeface="Consolas" charset="0"/>
              </a:rPr>
              <a:t>// </a:t>
            </a:r>
            <a:r>
              <a:rPr lang="de-DE" sz="2000" dirty="0" err="1">
                <a:solidFill>
                  <a:srgbClr val="00A019"/>
                </a:solidFill>
                <a:latin typeface="Consolas" charset="0"/>
              </a:rPr>
              <a:t>df</a:t>
            </a:r>
            <a:r>
              <a:rPr lang="de-DE" sz="2000" dirty="0">
                <a:solidFill>
                  <a:srgbClr val="00A019"/>
                </a:solidFill>
                <a:latin typeface="Consolas" charset="0"/>
              </a:rPr>
              <a:t>: </a:t>
            </a:r>
            <a:r>
              <a:rPr lang="de-DE" sz="2000" dirty="0" err="1">
                <a:solidFill>
                  <a:srgbClr val="00A019"/>
                </a:solidFill>
                <a:latin typeface="Consolas" charset="0"/>
              </a:rPr>
              <a:t>DataFrame</a:t>
            </a:r>
            <a:r>
              <a:rPr lang="de-DE" sz="2000" dirty="0">
                <a:solidFill>
                  <a:srgbClr val="00A019"/>
                </a:solidFill>
                <a:latin typeface="Consolas" charset="0"/>
              </a:rPr>
              <a:t> = [</a:t>
            </a:r>
            <a:r>
              <a:rPr lang="de-DE" sz="2000" dirty="0" err="1">
                <a:solidFill>
                  <a:srgbClr val="00A019"/>
                </a:solidFill>
                <a:latin typeface="Consolas" charset="0"/>
              </a:rPr>
              <a:t>firstName</a:t>
            </a:r>
            <a:r>
              <a:rPr lang="de-DE" sz="2000" dirty="0">
                <a:solidFill>
                  <a:srgbClr val="00A019"/>
                </a:solidFill>
                <a:latin typeface="Consolas" charset="0"/>
              </a:rPr>
              <a:t>: </a:t>
            </a:r>
            <a:r>
              <a:rPr lang="de-DE" sz="2000" dirty="0" err="1">
                <a:solidFill>
                  <a:srgbClr val="00A019"/>
                </a:solidFill>
                <a:latin typeface="Consolas" charset="0"/>
              </a:rPr>
              <a:t>string</a:t>
            </a:r>
            <a:r>
              <a:rPr lang="de-DE" sz="2000" dirty="0">
                <a:solidFill>
                  <a:srgbClr val="00A019"/>
                </a:solidFill>
                <a:latin typeface="Consolas" charset="0"/>
              </a:rPr>
              <a:t>, </a:t>
            </a:r>
            <a:r>
              <a:rPr lang="de-DE" sz="2000" dirty="0" err="1">
                <a:solidFill>
                  <a:srgbClr val="00A019"/>
                </a:solidFill>
                <a:latin typeface="Consolas" charset="0"/>
              </a:rPr>
              <a:t>lastName</a:t>
            </a:r>
            <a:r>
              <a:rPr lang="de-DE" sz="2000" dirty="0">
                <a:solidFill>
                  <a:srgbClr val="00A019"/>
                </a:solidFill>
                <a:latin typeface="Consolas" charset="0"/>
              </a:rPr>
              <a:t>: </a:t>
            </a:r>
            <a:r>
              <a:rPr lang="de-DE" sz="2000" dirty="0" err="1">
                <a:solidFill>
                  <a:srgbClr val="00A019"/>
                </a:solidFill>
                <a:latin typeface="Consolas" charset="0"/>
              </a:rPr>
              <a:t>string</a:t>
            </a:r>
            <a:r>
              <a:rPr lang="de-DE" sz="2000" dirty="0">
                <a:solidFill>
                  <a:srgbClr val="00A019"/>
                </a:solidFill>
                <a:latin typeface="Consolas" charset="0"/>
              </a:rPr>
              <a:t>, </a:t>
            </a:r>
            <a:r>
              <a:rPr lang="de-DE" sz="2000" dirty="0" err="1">
                <a:solidFill>
                  <a:srgbClr val="00A019"/>
                </a:solidFill>
                <a:latin typeface="Consolas" charset="0"/>
              </a:rPr>
              <a:t>gender</a:t>
            </a:r>
            <a:r>
              <a:rPr lang="de-DE" sz="2000" dirty="0">
                <a:solidFill>
                  <a:srgbClr val="00A019"/>
                </a:solidFill>
                <a:latin typeface="Consolas" charset="0"/>
              </a:rPr>
              <a:t>: </a:t>
            </a:r>
            <a:r>
              <a:rPr lang="de-DE" sz="2000" dirty="0" err="1">
                <a:solidFill>
                  <a:srgbClr val="00A019"/>
                </a:solidFill>
                <a:latin typeface="Consolas" charset="0"/>
              </a:rPr>
              <a:t>string</a:t>
            </a:r>
            <a:r>
              <a:rPr lang="de-DE" sz="2000" dirty="0">
                <a:solidFill>
                  <a:srgbClr val="00A019"/>
                </a:solidFill>
                <a:latin typeface="Consolas" charset="0"/>
              </a:rPr>
              <a:t>, </a:t>
            </a:r>
            <a:r>
              <a:rPr lang="de-DE" sz="2000" dirty="0" err="1">
                <a:solidFill>
                  <a:srgbClr val="00A019"/>
                </a:solidFill>
                <a:latin typeface="Consolas" charset="0"/>
              </a:rPr>
              <a:t>age</a:t>
            </a:r>
            <a:r>
              <a:rPr lang="de-DE" sz="2000" dirty="0">
                <a:solidFill>
                  <a:srgbClr val="00A019"/>
                </a:solidFill>
                <a:latin typeface="Consolas" charset="0"/>
              </a:rPr>
              <a:t>: </a:t>
            </a:r>
            <a:r>
              <a:rPr lang="de-DE" sz="2000" dirty="0" err="1">
                <a:solidFill>
                  <a:srgbClr val="00A019"/>
                </a:solidFill>
                <a:latin typeface="Consolas" charset="0"/>
              </a:rPr>
              <a:t>int</a:t>
            </a:r>
            <a:r>
              <a:rPr lang="de-DE" sz="2000" dirty="0">
                <a:solidFill>
                  <a:srgbClr val="00A019"/>
                </a:solidFill>
                <a:latin typeface="Consolas" charset="0"/>
              </a:rPr>
              <a:t>]</a:t>
            </a:r>
          </a:p>
        </p:txBody>
      </p:sp>
      <p:pic>
        <p:nvPicPr>
          <p:cNvPr id="11" name="Picture 1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846141" y="1276031"/>
            <a:ext cx="402991" cy="464575"/>
          </a:xfrm>
          <a:prstGeom prst="rect">
            <a:avLst/>
          </a:prstGeom>
        </p:spPr>
      </p:pic>
    </p:spTree>
    <p:extLst>
      <p:ext uri="{BB962C8B-B14F-4D97-AF65-F5344CB8AC3E}">
        <p14:creationId xmlns:p14="http://schemas.microsoft.com/office/powerpoint/2010/main" val="39943652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287116" y="1087938"/>
            <a:ext cx="9310545" cy="5510833"/>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p:txBody>
          <a:bodyPr>
            <a:normAutofit fontScale="90000"/>
          </a:bodyPr>
          <a:lstStyle/>
          <a:p>
            <a:r>
              <a:rPr lang="en-US" dirty="0"/>
              <a:t>Schema Inference (Python)</a:t>
            </a:r>
          </a:p>
        </p:txBody>
      </p:sp>
      <p:sp>
        <p:nvSpPr>
          <p:cNvPr id="9" name="Rectangle 8"/>
          <p:cNvSpPr/>
          <p:nvPr/>
        </p:nvSpPr>
        <p:spPr>
          <a:xfrm>
            <a:off x="1524001" y="1411545"/>
            <a:ext cx="8938380" cy="4841033"/>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b="1" dirty="0">
                <a:solidFill>
                  <a:srgbClr val="7F0055"/>
                </a:solidFill>
                <a:latin typeface="Consolas" charset="0"/>
                <a:ea typeface="Consolas" charset="0"/>
                <a:cs typeface="Consolas" charset="0"/>
              </a:rPr>
              <a:t>from </a:t>
            </a:r>
            <a:r>
              <a:rPr lang="en-US" dirty="0" err="1">
                <a:solidFill>
                  <a:srgbClr val="000000"/>
                </a:solidFill>
                <a:latin typeface="Consolas" charset="0"/>
                <a:ea typeface="Consolas" charset="0"/>
                <a:cs typeface="Consolas" charset="0"/>
              </a:rPr>
              <a:t>pyspark.sql</a:t>
            </a:r>
            <a:r>
              <a:rPr lang="en-US" b="1" dirty="0">
                <a:solidFill>
                  <a:srgbClr val="000000"/>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import </a:t>
            </a:r>
            <a:r>
              <a:rPr lang="en-US" dirty="0">
                <a:solidFill>
                  <a:srgbClr val="000000"/>
                </a:solidFill>
                <a:latin typeface="Consolas" charset="0"/>
                <a:ea typeface="Consolas" charset="0"/>
                <a:cs typeface="Consolas" charset="0"/>
              </a:rPr>
              <a:t>Row</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c.textFi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people.csv</a:t>
            </a:r>
            <a:r>
              <a:rPr lang="en-US" dirty="0">
                <a:solidFill>
                  <a:srgbClr val="0000BB"/>
                </a:solidFill>
                <a:latin typeface="Consolas" charset="0"/>
                <a:ea typeface="Consolas" charset="0"/>
                <a:cs typeface="Consolas" charset="0"/>
              </a:rPr>
              <a:t>")</a:t>
            </a:r>
          </a:p>
          <a:p>
            <a:r>
              <a:rPr lang="en-US" dirty="0">
                <a:solidFill>
                  <a:srgbClr val="000000"/>
                </a:solidFill>
                <a:latin typeface="Consolas" charset="0"/>
                <a:ea typeface="Consolas" charset="0"/>
                <a:cs typeface="Consolas" charset="0"/>
              </a:rPr>
              <a:t>Person = Row(</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first_name</a:t>
            </a:r>
            <a:r>
              <a:rPr lang="en-US" dirty="0">
                <a:solidFill>
                  <a:srgbClr val="0000BB"/>
                </a:solidFill>
                <a:latin typeface="Consolas" charset="0"/>
                <a:ea typeface="Consolas" charset="0"/>
                <a:cs typeface="Consolas" charset="0"/>
              </a:rPr>
              <a:t>', '</a:t>
            </a:r>
            <a:r>
              <a:rPr lang="en-US" dirty="0" err="1">
                <a:solidFill>
                  <a:srgbClr val="0000BB"/>
                </a:solidFill>
                <a:latin typeface="Consolas" charset="0"/>
                <a:ea typeface="Consolas" charset="0"/>
                <a:cs typeface="Consolas" charset="0"/>
              </a:rPr>
              <a:t>last_name</a:t>
            </a:r>
            <a:r>
              <a:rPr lang="en-US" dirty="0">
                <a:solidFill>
                  <a:srgbClr val="0000BB"/>
                </a:solidFill>
                <a:latin typeface="Consolas" charset="0"/>
                <a:ea typeface="Consolas" charset="0"/>
                <a:cs typeface="Consolas" charset="0"/>
              </a:rPr>
              <a:t>', 'gender', 'age')</a:t>
            </a:r>
          </a:p>
          <a:p>
            <a:endParaRPr lang="en-US" dirty="0">
              <a:latin typeface="Consolas" charset="0"/>
              <a:ea typeface="Consolas" charset="0"/>
              <a:cs typeface="Consolas" charset="0"/>
            </a:endParaRPr>
          </a:p>
          <a:p>
            <a:r>
              <a:rPr lang="en-US" b="1" dirty="0" err="1">
                <a:solidFill>
                  <a:srgbClr val="7F0055"/>
                </a:solidFill>
                <a:latin typeface="Consolas" charset="0"/>
                <a:ea typeface="Consolas" charset="0"/>
                <a:cs typeface="Consolas" charset="0"/>
              </a:rPr>
              <a:t>def</a:t>
            </a:r>
            <a:r>
              <a:rPr lang="en-US" b="1" dirty="0">
                <a:solidFill>
                  <a:srgbClr val="7F0055"/>
                </a:solidFill>
                <a:latin typeface="Consolas" charset="0"/>
                <a:ea typeface="Consolas" charset="0"/>
                <a:cs typeface="Consolas" charset="0"/>
              </a:rPr>
              <a:t> </a:t>
            </a:r>
            <a:r>
              <a:rPr lang="en-US" dirty="0" err="1">
                <a:solidFill>
                  <a:srgbClr val="0000FF"/>
                </a:solidFill>
                <a:latin typeface="Consolas" charset="0"/>
                <a:ea typeface="Consolas" charset="0"/>
                <a:cs typeface="Consolas" charset="0"/>
              </a:rPr>
              <a:t>line_to_person</a:t>
            </a:r>
            <a:r>
              <a:rPr lang="en-US" dirty="0">
                <a:solidFill>
                  <a:srgbClr val="0000FF"/>
                </a:solidFill>
                <a:latin typeface="Consolas" charset="0"/>
                <a:ea typeface="Consolas" charset="0"/>
                <a:cs typeface="Consolas" charset="0"/>
              </a:rPr>
              <a:t>(</a:t>
            </a:r>
            <a:r>
              <a:rPr lang="en-US" dirty="0">
                <a:solidFill>
                  <a:srgbClr val="000000"/>
                </a:solidFill>
                <a:latin typeface="Consolas" charset="0"/>
                <a:ea typeface="Consolas" charset="0"/>
                <a:cs typeface="Consolas" charset="0"/>
              </a:rPr>
              <a:t>line):</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cells = </a:t>
            </a:r>
            <a:r>
              <a:rPr lang="en-US" dirty="0" err="1">
                <a:solidFill>
                  <a:srgbClr val="000000"/>
                </a:solidFill>
                <a:latin typeface="Consolas" charset="0"/>
                <a:ea typeface="Consolas" charset="0"/>
                <a:cs typeface="Consolas" charset="0"/>
              </a:rPr>
              <a:t>line.spli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p>
          <a:p>
            <a:r>
              <a:rPr lang="fr-FR" dirty="0">
                <a:latin typeface="Consolas" charset="0"/>
                <a:ea typeface="Consolas" charset="0"/>
                <a:cs typeface="Consolas" charset="0"/>
              </a:rPr>
              <a:t>    </a:t>
            </a:r>
            <a:r>
              <a:rPr lang="fr-FR" dirty="0" err="1">
                <a:solidFill>
                  <a:srgbClr val="000000"/>
                </a:solidFill>
                <a:latin typeface="Consolas" charset="0"/>
                <a:ea typeface="Consolas" charset="0"/>
                <a:cs typeface="Consolas" charset="0"/>
              </a:rPr>
              <a:t>cells</a:t>
            </a:r>
            <a:r>
              <a:rPr lang="fr-FR" dirty="0">
                <a:solidFill>
                  <a:srgbClr val="000000"/>
                </a:solidFill>
                <a:latin typeface="Consolas" charset="0"/>
                <a:ea typeface="Consolas" charset="0"/>
                <a:cs typeface="Consolas" charset="0"/>
              </a:rPr>
              <a:t>[3] = </a:t>
            </a:r>
            <a:r>
              <a:rPr lang="fr-FR" dirty="0" err="1">
                <a:solidFill>
                  <a:srgbClr val="000000"/>
                </a:solidFill>
                <a:latin typeface="Consolas" charset="0"/>
                <a:ea typeface="Consolas" charset="0"/>
                <a:cs typeface="Consolas" charset="0"/>
              </a:rPr>
              <a:t>int</a:t>
            </a:r>
            <a:r>
              <a:rPr lang="fr-FR" dirty="0">
                <a:solidFill>
                  <a:srgbClr val="000000"/>
                </a:solidFill>
                <a:latin typeface="Consolas" charset="0"/>
                <a:ea typeface="Consolas" charset="0"/>
                <a:cs typeface="Consolas" charset="0"/>
              </a:rPr>
              <a:t>(</a:t>
            </a:r>
            <a:r>
              <a:rPr lang="fr-FR" dirty="0" err="1">
                <a:solidFill>
                  <a:srgbClr val="000000"/>
                </a:solidFill>
                <a:latin typeface="Consolas" charset="0"/>
                <a:ea typeface="Consolas" charset="0"/>
                <a:cs typeface="Consolas" charset="0"/>
              </a:rPr>
              <a:t>cells</a:t>
            </a:r>
            <a:r>
              <a:rPr lang="fr-FR" dirty="0">
                <a:solidFill>
                  <a:srgbClr val="000000"/>
                </a:solidFill>
                <a:latin typeface="Consolas" charset="0"/>
                <a:ea typeface="Consolas" charset="0"/>
                <a:cs typeface="Consolas" charset="0"/>
              </a:rPr>
              <a:t>[3])</a:t>
            </a:r>
          </a:p>
          <a:p>
            <a:r>
              <a:rPr lang="fr-FR" dirty="0">
                <a:latin typeface="Consolas" charset="0"/>
                <a:ea typeface="Consolas" charset="0"/>
                <a:cs typeface="Consolas" charset="0"/>
              </a:rPr>
              <a:t>    </a:t>
            </a:r>
            <a:r>
              <a:rPr lang="fr-FR" b="1" dirty="0">
                <a:solidFill>
                  <a:srgbClr val="7F0055"/>
                </a:solidFill>
                <a:latin typeface="Consolas" charset="0"/>
                <a:ea typeface="Consolas" charset="0"/>
                <a:cs typeface="Consolas" charset="0"/>
              </a:rPr>
              <a:t>return </a:t>
            </a:r>
            <a:r>
              <a:rPr lang="fr-FR" dirty="0">
                <a:solidFill>
                  <a:srgbClr val="000000"/>
                </a:solidFill>
                <a:latin typeface="Consolas" charset="0"/>
                <a:ea typeface="Consolas" charset="0"/>
                <a:cs typeface="Consolas" charset="0"/>
              </a:rPr>
              <a:t>Person(*</a:t>
            </a:r>
            <a:r>
              <a:rPr lang="fr-FR" dirty="0" err="1">
                <a:solidFill>
                  <a:srgbClr val="000000"/>
                </a:solidFill>
                <a:latin typeface="Consolas" charset="0"/>
                <a:ea typeface="Consolas" charset="0"/>
                <a:cs typeface="Consolas" charset="0"/>
              </a:rPr>
              <a:t>cells</a:t>
            </a:r>
            <a:r>
              <a:rPr lang="fr-FR" dirty="0">
                <a:solidFill>
                  <a:srgbClr val="000000"/>
                </a:solidFill>
                <a:latin typeface="Consolas" charset="0"/>
                <a:ea typeface="Consolas" charset="0"/>
                <a:cs typeface="Consolas" charset="0"/>
              </a:rPr>
              <a:t>)</a:t>
            </a:r>
          </a:p>
          <a:p>
            <a:endParaRPr lang="fr-FR" dirty="0">
              <a:latin typeface="Consolas" charset="0"/>
              <a:ea typeface="Consolas" charset="0"/>
              <a:cs typeface="Consolas" charset="0"/>
            </a:endParaRPr>
          </a:p>
          <a:p>
            <a:r>
              <a:rPr lang="fr-FR" dirty="0" err="1">
                <a:solidFill>
                  <a:srgbClr val="000000"/>
                </a:solidFill>
                <a:latin typeface="Consolas" charset="0"/>
                <a:ea typeface="Consolas" charset="0"/>
                <a:cs typeface="Consolas" charset="0"/>
              </a:rPr>
              <a:t>peopleRDD</a:t>
            </a:r>
            <a:r>
              <a:rPr lang="fr-FR" dirty="0">
                <a:solidFill>
                  <a:srgbClr val="000000"/>
                </a:solidFill>
                <a:latin typeface="Consolas" charset="0"/>
                <a:ea typeface="Consolas" charset="0"/>
                <a:cs typeface="Consolas" charset="0"/>
              </a:rPr>
              <a:t> = </a:t>
            </a:r>
            <a:r>
              <a:rPr lang="fr-FR" dirty="0" err="1">
                <a:solidFill>
                  <a:srgbClr val="000000"/>
                </a:solidFill>
                <a:latin typeface="Consolas" charset="0"/>
                <a:ea typeface="Consolas" charset="0"/>
                <a:cs typeface="Consolas" charset="0"/>
              </a:rPr>
              <a:t>rdd.map</a:t>
            </a:r>
            <a:r>
              <a:rPr lang="fr-FR" dirty="0">
                <a:solidFill>
                  <a:srgbClr val="000000"/>
                </a:solidFill>
                <a:latin typeface="Consolas" charset="0"/>
                <a:ea typeface="Consolas" charset="0"/>
                <a:cs typeface="Consolas" charset="0"/>
              </a:rPr>
              <a:t>(</a:t>
            </a:r>
            <a:r>
              <a:rPr lang="fr-FR" dirty="0" err="1">
                <a:solidFill>
                  <a:srgbClr val="000000"/>
                </a:solidFill>
                <a:latin typeface="Consolas" charset="0"/>
                <a:ea typeface="Consolas" charset="0"/>
                <a:cs typeface="Consolas" charset="0"/>
              </a:rPr>
              <a:t>line_to_person</a:t>
            </a:r>
            <a:r>
              <a:rPr lang="fr-FR" dirty="0">
                <a:solidFill>
                  <a:srgbClr val="000000"/>
                </a:solidFill>
                <a:latin typeface="Consolas" charset="0"/>
                <a:ea typeface="Consolas" charset="0"/>
                <a:cs typeface="Consolas" charset="0"/>
              </a:rPr>
              <a:t>)</a:t>
            </a:r>
          </a:p>
          <a:p>
            <a:endParaRPr lang="fr-FR" dirty="0">
              <a:latin typeface="Consolas" charset="0"/>
              <a:ea typeface="Consolas" charset="0"/>
              <a:cs typeface="Consolas" charset="0"/>
            </a:endParaRPr>
          </a:p>
          <a:p>
            <a:r>
              <a:rPr lang="fr-FR" dirty="0" err="1">
                <a:solidFill>
                  <a:srgbClr val="000000"/>
                </a:solidFill>
                <a:latin typeface="Consolas" charset="0"/>
                <a:ea typeface="Consolas" charset="0"/>
                <a:cs typeface="Consolas" charset="0"/>
              </a:rPr>
              <a:t>df</a:t>
            </a:r>
            <a:r>
              <a:rPr lang="fr-FR" dirty="0">
                <a:solidFill>
                  <a:srgbClr val="000000"/>
                </a:solidFill>
                <a:latin typeface="Consolas" charset="0"/>
                <a:ea typeface="Consolas" charset="0"/>
                <a:cs typeface="Consolas" charset="0"/>
              </a:rPr>
              <a:t> = </a:t>
            </a:r>
            <a:r>
              <a:rPr lang="fr-FR" dirty="0" err="1">
                <a:solidFill>
                  <a:srgbClr val="000000"/>
                </a:solidFill>
                <a:latin typeface="Consolas" charset="0"/>
                <a:ea typeface="Consolas" charset="0"/>
                <a:cs typeface="Consolas" charset="0"/>
              </a:rPr>
              <a:t>peopleRDD.toDF</a:t>
            </a:r>
            <a:r>
              <a:rPr lang="fr-FR" dirty="0">
                <a:solidFill>
                  <a:srgbClr val="000000"/>
                </a:solidFill>
                <a:latin typeface="Consolas" charset="0"/>
                <a:ea typeface="Consolas" charset="0"/>
                <a:cs typeface="Consolas" charset="0"/>
              </a:rPr>
              <a:t>()</a:t>
            </a:r>
          </a:p>
          <a:p>
            <a:r>
              <a:rPr lang="fr-FR" dirty="0">
                <a:solidFill>
                  <a:srgbClr val="00A019"/>
                </a:solidFill>
                <a:latin typeface="Consolas" charset="0"/>
                <a:ea typeface="Consolas" charset="0"/>
                <a:cs typeface="Consolas" charset="0"/>
              </a:rPr>
              <a:t># </a:t>
            </a:r>
            <a:r>
              <a:rPr lang="fr-FR" dirty="0" err="1">
                <a:solidFill>
                  <a:srgbClr val="00A019"/>
                </a:solidFill>
                <a:latin typeface="Consolas" charset="0"/>
                <a:ea typeface="Consolas" charset="0"/>
                <a:cs typeface="Consolas" charset="0"/>
              </a:rPr>
              <a:t>DataFrame</a:t>
            </a:r>
            <a:r>
              <a:rPr lang="fr-FR" dirty="0">
                <a:solidFill>
                  <a:srgbClr val="00A019"/>
                </a:solidFill>
                <a:latin typeface="Consolas" charset="0"/>
                <a:ea typeface="Consolas" charset="0"/>
                <a:cs typeface="Consolas" charset="0"/>
              </a:rPr>
              <a:t>[</a:t>
            </a:r>
            <a:r>
              <a:rPr lang="fr-FR" dirty="0" err="1">
                <a:solidFill>
                  <a:srgbClr val="00A019"/>
                </a:solidFill>
                <a:latin typeface="Consolas" charset="0"/>
                <a:ea typeface="Consolas" charset="0"/>
                <a:cs typeface="Consolas" charset="0"/>
              </a:rPr>
              <a:t>first_name</a:t>
            </a:r>
            <a:r>
              <a:rPr lang="fr-FR" dirty="0">
                <a:solidFill>
                  <a:srgbClr val="00A019"/>
                </a:solidFill>
                <a:latin typeface="Consolas" charset="0"/>
                <a:ea typeface="Consolas" charset="0"/>
                <a:cs typeface="Consolas" charset="0"/>
              </a:rPr>
              <a:t>: string, </a:t>
            </a:r>
            <a:r>
              <a:rPr lang="fr-FR" dirty="0" err="1">
                <a:solidFill>
                  <a:srgbClr val="00A019"/>
                </a:solidFill>
                <a:latin typeface="Consolas" charset="0"/>
                <a:ea typeface="Consolas" charset="0"/>
                <a:cs typeface="Consolas" charset="0"/>
              </a:rPr>
              <a:t>last_name</a:t>
            </a:r>
            <a:r>
              <a:rPr lang="fr-FR" dirty="0">
                <a:solidFill>
                  <a:srgbClr val="00A019"/>
                </a:solidFill>
                <a:latin typeface="Consolas" charset="0"/>
                <a:ea typeface="Consolas" charset="0"/>
                <a:cs typeface="Consolas" charset="0"/>
              </a:rPr>
              <a:t>: string, \</a:t>
            </a:r>
          </a:p>
          <a:p>
            <a:r>
              <a:rPr lang="fr-FR" dirty="0">
                <a:solidFill>
                  <a:srgbClr val="00A019"/>
                </a:solidFill>
                <a:latin typeface="Consolas" charset="0"/>
                <a:ea typeface="Consolas" charset="0"/>
                <a:cs typeface="Consolas" charset="0"/>
              </a:rPr>
              <a:t># </a:t>
            </a:r>
            <a:r>
              <a:rPr lang="fr-FR" dirty="0" err="1">
                <a:solidFill>
                  <a:srgbClr val="00A019"/>
                </a:solidFill>
                <a:latin typeface="Consolas" charset="0"/>
                <a:ea typeface="Consolas" charset="0"/>
                <a:cs typeface="Consolas" charset="0"/>
              </a:rPr>
              <a:t>gender</a:t>
            </a:r>
            <a:r>
              <a:rPr lang="fr-FR" dirty="0">
                <a:solidFill>
                  <a:srgbClr val="00A019"/>
                </a:solidFill>
                <a:latin typeface="Consolas" charset="0"/>
                <a:ea typeface="Consolas" charset="0"/>
                <a:cs typeface="Consolas" charset="0"/>
              </a:rPr>
              <a:t>: string, </a:t>
            </a:r>
            <a:r>
              <a:rPr lang="fr-FR" dirty="0" err="1">
                <a:solidFill>
                  <a:srgbClr val="00A019"/>
                </a:solidFill>
                <a:latin typeface="Consolas" charset="0"/>
                <a:ea typeface="Consolas" charset="0"/>
                <a:cs typeface="Consolas" charset="0"/>
              </a:rPr>
              <a:t>age</a:t>
            </a:r>
            <a:r>
              <a:rPr lang="fr-FR" dirty="0">
                <a:solidFill>
                  <a:srgbClr val="00A019"/>
                </a:solidFill>
                <a:latin typeface="Consolas" charset="0"/>
                <a:ea typeface="Consolas" charset="0"/>
                <a:cs typeface="Consolas" charset="0"/>
              </a:rPr>
              <a:t>: </a:t>
            </a:r>
            <a:r>
              <a:rPr lang="fr-FR" dirty="0" err="1">
                <a:solidFill>
                  <a:srgbClr val="00A019"/>
                </a:solidFill>
                <a:latin typeface="Consolas" charset="0"/>
                <a:ea typeface="Consolas" charset="0"/>
                <a:cs typeface="Consolas" charset="0"/>
              </a:rPr>
              <a:t>bigint</a:t>
            </a:r>
            <a:r>
              <a:rPr lang="fr-FR" dirty="0">
                <a:solidFill>
                  <a:srgbClr val="00A019"/>
                </a:solidFill>
                <a:latin typeface="Consolas" charset="0"/>
                <a:ea typeface="Consolas" charset="0"/>
                <a:cs typeface="Consolas" charset="0"/>
              </a:rPr>
              <a:t>]</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12339" y="1541661"/>
            <a:ext cx="443463" cy="443463"/>
          </a:xfrm>
          <a:prstGeom prst="rect">
            <a:avLst/>
          </a:prstGeom>
        </p:spPr>
      </p:pic>
    </p:spTree>
    <p:extLst>
      <p:ext uri="{BB962C8B-B14F-4D97-AF65-F5344CB8AC3E}">
        <p14:creationId xmlns:p14="http://schemas.microsoft.com/office/powerpoint/2010/main" val="342018809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chema Inference</a:t>
            </a:r>
          </a:p>
        </p:txBody>
      </p:sp>
      <p:sp>
        <p:nvSpPr>
          <p:cNvPr id="3" name="Content Placeholder 2"/>
          <p:cNvSpPr>
            <a:spLocks noGrp="1"/>
          </p:cNvSpPr>
          <p:nvPr>
            <p:ph idx="1"/>
          </p:nvPr>
        </p:nvSpPr>
        <p:spPr>
          <a:xfrm>
            <a:off x="924839" y="1750502"/>
            <a:ext cx="10380282" cy="4525433"/>
          </a:xfrm>
        </p:spPr>
        <p:txBody>
          <a:bodyPr/>
          <a:lstStyle/>
          <a:p>
            <a:pPr marL="0" indent="0">
              <a:buNone/>
            </a:pPr>
            <a:r>
              <a:rPr lang="en-US" dirty="0"/>
              <a:t>We can also force schema inference</a:t>
            </a:r>
          </a:p>
          <a:p>
            <a:pPr marL="457189" indent="-457189"/>
            <a:r>
              <a:rPr lang="en-US" i="1" dirty="0"/>
              <a:t>without</a:t>
            </a:r>
            <a:r>
              <a:rPr lang="en-US" dirty="0"/>
              <a:t> creating our own Person type, </a:t>
            </a:r>
          </a:p>
          <a:p>
            <a:pPr marL="457189" indent="-457189"/>
            <a:r>
              <a:rPr lang="en-US" dirty="0"/>
              <a:t>by using a fixed-length data structure (such as a </a:t>
            </a:r>
            <a:r>
              <a:rPr lang="en-US" i="1" dirty="0"/>
              <a:t>tuple</a:t>
            </a:r>
            <a:r>
              <a:rPr lang="en-US" dirty="0"/>
              <a:t>) </a:t>
            </a:r>
          </a:p>
          <a:p>
            <a:pPr marL="457189" indent="-457189"/>
            <a:r>
              <a:rPr lang="en-US" dirty="0"/>
              <a:t>and supplying the column names to the </a:t>
            </a:r>
            <a:r>
              <a:rPr lang="en-US" dirty="0" err="1">
                <a:solidFill>
                  <a:srgbClr val="0070C0"/>
                </a:solidFill>
                <a:latin typeface="Consolas" charset="0"/>
                <a:ea typeface="Consolas" charset="0"/>
                <a:cs typeface="Consolas" charset="0"/>
              </a:rPr>
              <a:t>toDF</a:t>
            </a:r>
            <a:r>
              <a:rPr lang="en-US" dirty="0">
                <a:solidFill>
                  <a:srgbClr val="0070C0"/>
                </a:solidFill>
                <a:latin typeface="Consolas" charset="0"/>
                <a:ea typeface="Consolas" charset="0"/>
                <a:cs typeface="Consolas" charset="0"/>
              </a:rPr>
              <a:t>()</a:t>
            </a:r>
            <a:r>
              <a:rPr lang="en-US" dirty="0"/>
              <a:t> method.</a:t>
            </a:r>
            <a:endParaRPr lang="en-US" dirty="0">
              <a:solidFill>
                <a:srgbClr val="0070C0"/>
              </a:solidFill>
              <a:latin typeface="Courier" charset="0"/>
              <a:ea typeface="Courier" charset="0"/>
              <a:cs typeface="Courier" charset="0"/>
            </a:endParaRPr>
          </a:p>
        </p:txBody>
      </p:sp>
    </p:spTree>
    <p:extLst>
      <p:ext uri="{BB962C8B-B14F-4D97-AF65-F5344CB8AC3E}">
        <p14:creationId xmlns:p14="http://schemas.microsoft.com/office/powerpoint/2010/main" val="305393167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chema Inference (Scala)</a:t>
            </a:r>
          </a:p>
        </p:txBody>
      </p:sp>
      <p:sp>
        <p:nvSpPr>
          <p:cNvPr id="3" name="TextBox 2"/>
          <p:cNvSpPr txBox="1"/>
          <p:nvPr/>
        </p:nvSpPr>
        <p:spPr>
          <a:xfrm>
            <a:off x="528034" y="5029742"/>
            <a:ext cx="11225586" cy="553994"/>
          </a:xfrm>
          <a:prstGeom prst="rect">
            <a:avLst/>
          </a:prstGeom>
          <a:noFill/>
        </p:spPr>
        <p:txBody>
          <a:bodyPr wrap="square" lIns="121917" tIns="60958" rIns="121917" bIns="60958" rtlCol="0">
            <a:spAutoFit/>
          </a:bodyPr>
          <a:lstStyle/>
          <a:p>
            <a:r>
              <a:rPr lang="en-US" sz="2800" dirty="0">
                <a:latin typeface="Source Sans Pro Light" charset="0"/>
                <a:ea typeface="Source Sans Pro Light" charset="0"/>
                <a:cs typeface="Source Sans Pro Light" charset="0"/>
              </a:rPr>
              <a:t>If you don’t supply the column names, the API defaults to “_1”, “_2”, etc.</a:t>
            </a:r>
          </a:p>
        </p:txBody>
      </p:sp>
      <p:sp>
        <p:nvSpPr>
          <p:cNvPr id="7" name="Rectangle 4"/>
          <p:cNvSpPr/>
          <p:nvPr/>
        </p:nvSpPr>
        <p:spPr>
          <a:xfrm>
            <a:off x="1142312" y="1418167"/>
            <a:ext cx="9659459" cy="3206507"/>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9" name="Rectangle 8"/>
          <p:cNvSpPr/>
          <p:nvPr/>
        </p:nvSpPr>
        <p:spPr>
          <a:xfrm>
            <a:off x="1387013" y="1671299"/>
            <a:ext cx="9157162" cy="2717483"/>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rdd</a:t>
            </a:r>
            <a:r>
              <a:rPr lang="en-US" sz="2000" dirty="0">
                <a:solidFill>
                  <a:srgbClr val="000000"/>
                </a:solidFill>
                <a:latin typeface="Consolas" charset="0"/>
                <a:ea typeface="Consolas" charset="0"/>
                <a:cs typeface="Consolas" charset="0"/>
              </a:rPr>
              <a:t>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sc.textFile</a:t>
            </a:r>
            <a:r>
              <a:rPr lang="en-US" sz="2000" b="1" dirty="0">
                <a:solidFill>
                  <a:srgbClr val="000000"/>
                </a:solidFill>
                <a:latin typeface="Consolas" charset="0"/>
                <a:ea typeface="Consolas" charset="0"/>
                <a:cs typeface="Consolas" charset="0"/>
              </a:rPr>
              <a:t>(</a:t>
            </a:r>
            <a:r>
              <a:rPr lang="en-US" sz="2000" b="1" dirty="0">
                <a:solidFill>
                  <a:srgbClr val="0000BB"/>
                </a:solidFill>
                <a:latin typeface="Consolas" charset="0"/>
                <a:ea typeface="Consolas" charset="0"/>
                <a:cs typeface="Consolas" charset="0"/>
              </a:rPr>
              <a:t>"</a:t>
            </a:r>
            <a:r>
              <a:rPr lang="en-US" sz="2000" dirty="0" err="1">
                <a:solidFill>
                  <a:srgbClr val="0000BB"/>
                </a:solidFill>
                <a:latin typeface="Consolas" charset="0"/>
                <a:ea typeface="Consolas" charset="0"/>
                <a:cs typeface="Consolas" charset="0"/>
              </a:rPr>
              <a:t>people.csv</a:t>
            </a:r>
            <a:r>
              <a:rPr lang="en-US" sz="2000" b="1" dirty="0">
                <a:solidFill>
                  <a:srgbClr val="0000BB"/>
                </a:solidFill>
                <a:latin typeface="Consolas" charset="0"/>
                <a:ea typeface="Consolas" charset="0"/>
                <a:cs typeface="Consolas" charset="0"/>
              </a:rPr>
              <a:t>")</a:t>
            </a:r>
          </a:p>
          <a:p>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peopleRDD</a:t>
            </a:r>
            <a:r>
              <a:rPr lang="en-US" sz="2000" dirty="0">
                <a:solidFill>
                  <a:srgbClr val="000000"/>
                </a:solidFill>
                <a:latin typeface="Consolas" charset="0"/>
                <a:ea typeface="Consolas" charset="0"/>
                <a:cs typeface="Consolas" charset="0"/>
              </a:rPr>
              <a:t>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rdd.map</a:t>
            </a:r>
            <a:r>
              <a:rPr lang="en-US" sz="2000" dirty="0">
                <a:solidFill>
                  <a:srgbClr val="000000"/>
                </a:solidFill>
                <a:latin typeface="Consolas" charset="0"/>
                <a:ea typeface="Consolas" charset="0"/>
                <a:cs typeface="Consolas" charset="0"/>
              </a:rPr>
              <a:t> { line </a:t>
            </a:r>
            <a:r>
              <a:rPr lang="en-US" sz="2000" dirty="0">
                <a:solidFill>
                  <a:srgbClr val="7F0055"/>
                </a:solidFill>
                <a:latin typeface="Consolas" charset="0"/>
                <a:ea typeface="Consolas" charset="0"/>
                <a:cs typeface="Consolas" charset="0"/>
              </a:rPr>
              <a:t>=&gt;</a:t>
            </a:r>
          </a:p>
          <a:p>
            <a:r>
              <a:rPr lang="en-US" sz="2000" dirty="0">
                <a:latin typeface="Consolas" charset="0"/>
                <a:ea typeface="Consolas" charset="0"/>
                <a:cs typeface="Consolas" charset="0"/>
              </a:rPr>
              <a:t>  </a:t>
            </a:r>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a:solidFill>
                  <a:srgbClr val="000000"/>
                </a:solidFill>
                <a:latin typeface="Consolas" charset="0"/>
                <a:ea typeface="Consolas" charset="0"/>
                <a:cs typeface="Consolas" charset="0"/>
              </a:rPr>
              <a:t>cols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line.split</a:t>
            </a:r>
            <a:r>
              <a:rPr lang="en-US" sz="2000" dirty="0">
                <a:solidFill>
                  <a:srgbClr val="000000"/>
                </a:solidFill>
                <a:latin typeface="Consolas" charset="0"/>
                <a:ea typeface="Consolas" charset="0"/>
                <a:cs typeface="Consolas" charset="0"/>
              </a:rPr>
              <a:t>(</a:t>
            </a:r>
            <a:r>
              <a:rPr lang="en-US" sz="2000" dirty="0">
                <a:solidFill>
                  <a:srgbClr val="0000BB"/>
                </a:solidFill>
                <a:latin typeface="Consolas" charset="0"/>
                <a:ea typeface="Consolas" charset="0"/>
                <a:cs typeface="Consolas" charset="0"/>
              </a:rPr>
              <a:t>",")</a:t>
            </a:r>
          </a:p>
          <a:p>
            <a:r>
              <a:rPr lang="en-US" sz="2000" dirty="0">
                <a:latin typeface="Consolas" charset="0"/>
                <a:ea typeface="Consolas" charset="0"/>
                <a:cs typeface="Consolas" charset="0"/>
              </a:rPr>
              <a:t>  (</a:t>
            </a:r>
            <a:r>
              <a:rPr lang="en-US" sz="2000" dirty="0">
                <a:solidFill>
                  <a:srgbClr val="000000"/>
                </a:solidFill>
                <a:latin typeface="Consolas" charset="0"/>
                <a:ea typeface="Consolas" charset="0"/>
                <a:cs typeface="Consolas" charset="0"/>
              </a:rPr>
              <a:t>cols(0), cols(1), cols(2), cols(3).</a:t>
            </a:r>
            <a:r>
              <a:rPr lang="en-US" sz="2000" dirty="0" err="1">
                <a:solidFill>
                  <a:srgbClr val="000000"/>
                </a:solidFill>
                <a:latin typeface="Consolas" charset="0"/>
                <a:ea typeface="Consolas" charset="0"/>
                <a:cs typeface="Consolas" charset="0"/>
              </a:rPr>
              <a:t>toInt</a:t>
            </a:r>
            <a:r>
              <a:rPr lang="en-US" sz="2000" dirty="0">
                <a:solidFill>
                  <a:srgbClr val="000000"/>
                </a:solidFill>
                <a:latin typeface="Consolas" charset="0"/>
                <a:ea typeface="Consolas" charset="0"/>
                <a:cs typeface="Consolas" charset="0"/>
              </a:rPr>
              <a:t>)</a:t>
            </a:r>
          </a:p>
          <a:p>
            <a:r>
              <a:rPr lang="en-US" sz="2000" dirty="0">
                <a:latin typeface="Consolas" charset="0"/>
                <a:ea typeface="Consolas" charset="0"/>
                <a:cs typeface="Consolas" charset="0"/>
              </a:rPr>
              <a:t>}</a:t>
            </a:r>
          </a:p>
          <a:p>
            <a:endParaRPr lang="en-US" sz="2000" dirty="0">
              <a:latin typeface="Consolas" charset="0"/>
              <a:ea typeface="Consolas" charset="0"/>
              <a:cs typeface="Consolas" charset="0"/>
            </a:endParaRPr>
          </a:p>
          <a:p>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df</a:t>
            </a:r>
            <a:r>
              <a:rPr lang="en-US" sz="2000" dirty="0">
                <a:solidFill>
                  <a:srgbClr val="000000"/>
                </a:solidFill>
                <a:latin typeface="Consolas" charset="0"/>
                <a:ea typeface="Consolas" charset="0"/>
                <a:cs typeface="Consolas" charset="0"/>
              </a:rPr>
              <a:t>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peopleRDD.toDF</a:t>
            </a:r>
            <a:r>
              <a:rPr lang="en-US" sz="2000" b="1" dirty="0">
                <a:solidFill>
                  <a:srgbClr val="000000"/>
                </a:solidFill>
                <a:latin typeface="Consolas" charset="0"/>
                <a:ea typeface="Consolas" charset="0"/>
                <a:cs typeface="Consolas" charset="0"/>
              </a:rPr>
              <a:t>(</a:t>
            </a:r>
            <a:r>
              <a:rPr lang="en-US" sz="2000" b="1" dirty="0">
                <a:solidFill>
                  <a:srgbClr val="0000BB"/>
                </a:solidFill>
                <a:latin typeface="Consolas" charset="0"/>
                <a:ea typeface="Consolas" charset="0"/>
                <a:cs typeface="Consolas" charset="0"/>
              </a:rPr>
              <a:t>"</a:t>
            </a:r>
            <a:r>
              <a:rPr lang="en-US" sz="2000" dirty="0" err="1">
                <a:solidFill>
                  <a:srgbClr val="0000BB"/>
                </a:solidFill>
                <a:latin typeface="Consolas" charset="0"/>
                <a:ea typeface="Consolas" charset="0"/>
                <a:cs typeface="Consolas" charset="0"/>
              </a:rPr>
              <a:t>firstName</a:t>
            </a:r>
            <a:r>
              <a:rPr lang="en-US" sz="2000" b="1" dirty="0">
                <a:solidFill>
                  <a:srgbClr val="0000BB"/>
                </a:solidFill>
                <a:latin typeface="Consolas" charset="0"/>
                <a:ea typeface="Consolas" charset="0"/>
                <a:cs typeface="Consolas" charset="0"/>
              </a:rPr>
              <a:t>", "</a:t>
            </a:r>
            <a:r>
              <a:rPr lang="en-US" sz="2000" dirty="0" err="1">
                <a:solidFill>
                  <a:srgbClr val="0000BB"/>
                </a:solidFill>
                <a:latin typeface="Consolas" charset="0"/>
                <a:ea typeface="Consolas" charset="0"/>
                <a:cs typeface="Consolas" charset="0"/>
              </a:rPr>
              <a:t>lastName</a:t>
            </a:r>
            <a:r>
              <a:rPr lang="en-US" sz="2000" b="1" dirty="0">
                <a:solidFill>
                  <a:srgbClr val="0000BB"/>
                </a:solidFill>
                <a:latin typeface="Consolas" charset="0"/>
                <a:ea typeface="Consolas" charset="0"/>
                <a:cs typeface="Consolas" charset="0"/>
              </a:rPr>
              <a:t>",</a:t>
            </a:r>
          </a:p>
          <a:p>
            <a:r>
              <a:rPr lang="en-US" sz="2000" dirty="0">
                <a:latin typeface="Consolas" charset="0"/>
                <a:ea typeface="Consolas" charset="0"/>
                <a:cs typeface="Consolas" charset="0"/>
              </a:rPr>
              <a:t>                        </a:t>
            </a:r>
            <a:r>
              <a:rPr lang="en-US" sz="2000" dirty="0">
                <a:solidFill>
                  <a:srgbClr val="0000BB"/>
                </a:solidFill>
                <a:latin typeface="Consolas" charset="0"/>
                <a:ea typeface="Consolas" charset="0"/>
                <a:cs typeface="Consolas" charset="0"/>
              </a:rPr>
              <a:t>"gender", "age")</a:t>
            </a:r>
          </a:p>
        </p:txBody>
      </p:sp>
      <p:pic>
        <p:nvPicPr>
          <p:cNvPr id="13" name="Picture 1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036901" y="1823235"/>
            <a:ext cx="315382" cy="464575"/>
          </a:xfrm>
          <a:prstGeom prst="rect">
            <a:avLst/>
          </a:prstGeom>
        </p:spPr>
      </p:pic>
    </p:spTree>
    <p:extLst>
      <p:ext uri="{BB962C8B-B14F-4D97-AF65-F5344CB8AC3E}">
        <p14:creationId xmlns:p14="http://schemas.microsoft.com/office/powerpoint/2010/main" val="334434616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108150" y="1714138"/>
            <a:ext cx="9998109" cy="391315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9" name="Rectangle 8"/>
          <p:cNvSpPr/>
          <p:nvPr/>
        </p:nvSpPr>
        <p:spPr>
          <a:xfrm>
            <a:off x="1300427" y="1862712"/>
            <a:ext cx="9805833" cy="3313825"/>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dirty="0" err="1">
                <a:solidFill>
                  <a:srgbClr val="000000"/>
                </a:solidFill>
                <a:latin typeface="Consolas" charset="0"/>
                <a:ea typeface="Consolas" charset="0"/>
                <a:cs typeface="Consolas" charset="0"/>
              </a:rPr>
              <a:t>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c.textFi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people.csv</a:t>
            </a:r>
            <a:r>
              <a:rPr lang="en-US" dirty="0">
                <a:solidFill>
                  <a:srgbClr val="0000BB"/>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b="1" dirty="0" err="1">
                <a:solidFill>
                  <a:srgbClr val="7F0055"/>
                </a:solidFill>
                <a:latin typeface="Consolas" charset="0"/>
                <a:ea typeface="Consolas" charset="0"/>
                <a:cs typeface="Consolas" charset="0"/>
              </a:rPr>
              <a:t>def</a:t>
            </a:r>
            <a:r>
              <a:rPr lang="en-US" b="1" dirty="0">
                <a:solidFill>
                  <a:srgbClr val="7F0055"/>
                </a:solidFill>
                <a:latin typeface="Consolas" charset="0"/>
                <a:ea typeface="Consolas" charset="0"/>
                <a:cs typeface="Consolas" charset="0"/>
              </a:rPr>
              <a:t> </a:t>
            </a:r>
            <a:r>
              <a:rPr lang="en-US" dirty="0" err="1">
                <a:solidFill>
                  <a:srgbClr val="0000FF"/>
                </a:solidFill>
                <a:latin typeface="Consolas" charset="0"/>
                <a:ea typeface="Consolas" charset="0"/>
                <a:cs typeface="Consolas" charset="0"/>
              </a:rPr>
              <a:t>line_to_person</a:t>
            </a:r>
            <a:r>
              <a:rPr lang="en-US" dirty="0">
                <a:solidFill>
                  <a:schemeClr val="tx1"/>
                </a:solidFill>
                <a:latin typeface="Consolas" charset="0"/>
                <a:ea typeface="Consolas" charset="0"/>
                <a:cs typeface="Consolas" charset="0"/>
              </a:rPr>
              <a:t>(</a:t>
            </a:r>
            <a:r>
              <a:rPr lang="en-US" dirty="0">
                <a:solidFill>
                  <a:srgbClr val="000000"/>
                </a:solidFill>
                <a:latin typeface="Consolas" charset="0"/>
                <a:ea typeface="Consolas" charset="0"/>
                <a:cs typeface="Consolas" charset="0"/>
              </a:rPr>
              <a:t>line):</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cells = </a:t>
            </a:r>
            <a:r>
              <a:rPr lang="en-US" dirty="0" err="1">
                <a:solidFill>
                  <a:srgbClr val="000000"/>
                </a:solidFill>
                <a:latin typeface="Consolas" charset="0"/>
                <a:ea typeface="Consolas" charset="0"/>
                <a:cs typeface="Consolas" charset="0"/>
              </a:rPr>
              <a:t>line.spli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p>
          <a:p>
            <a:r>
              <a:rPr lang="en-US" dirty="0">
                <a:latin typeface="Consolas" charset="0"/>
                <a:ea typeface="Consolas" charset="0"/>
                <a:cs typeface="Consolas" charset="0"/>
              </a:rPr>
              <a:t>    </a:t>
            </a:r>
            <a:r>
              <a:rPr lang="en-US" b="1" dirty="0">
                <a:solidFill>
                  <a:srgbClr val="7F0055"/>
                </a:solidFill>
                <a:latin typeface="Consolas" charset="0"/>
                <a:ea typeface="Consolas" charset="0"/>
                <a:cs typeface="Consolas" charset="0"/>
              </a:rPr>
              <a:t>return </a:t>
            </a:r>
            <a:r>
              <a:rPr lang="en-US" dirty="0">
                <a:solidFill>
                  <a:srgbClr val="000000"/>
                </a:solidFill>
                <a:latin typeface="Consolas" charset="0"/>
                <a:ea typeface="Consolas" charset="0"/>
                <a:cs typeface="Consolas" charset="0"/>
              </a:rPr>
              <a:t>(cells[0], cells[1], cells[2], </a:t>
            </a:r>
            <a:r>
              <a:rPr lang="en-US" dirty="0" err="1">
                <a:solidFill>
                  <a:srgbClr val="000000"/>
                </a:solidFill>
                <a:latin typeface="Consolas" charset="0"/>
                <a:ea typeface="Consolas" charset="0"/>
                <a:cs typeface="Consolas" charset="0"/>
              </a:rPr>
              <a:t>int</a:t>
            </a:r>
            <a:r>
              <a:rPr lang="en-US" dirty="0">
                <a:solidFill>
                  <a:srgbClr val="000000"/>
                </a:solidFill>
                <a:latin typeface="Consolas" charset="0"/>
                <a:ea typeface="Consolas" charset="0"/>
                <a:cs typeface="Consolas" charset="0"/>
              </a:rPr>
              <a:t>(cells[3]))</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people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rdd.map</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line_to_person</a:t>
            </a:r>
            <a:r>
              <a:rPr lang="en-US" dirty="0">
                <a:solidFill>
                  <a:srgbClr val="000000"/>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d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peopleRDD.toDF</a:t>
            </a:r>
            <a:r>
              <a:rPr lang="en-US" dirty="0">
                <a:solidFill>
                  <a:srgbClr val="000000"/>
                </a:solidFill>
                <a:latin typeface="Consolas" charset="0"/>
                <a:ea typeface="Consolas" charset="0"/>
                <a:cs typeface="Consolas" charset="0"/>
              </a:rPr>
              <a:t>(</a:t>
            </a:r>
            <a:r>
              <a:rPr lang="en-US" dirty="0">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first_name</a:t>
            </a:r>
            <a:r>
              <a:rPr lang="en-US" dirty="0">
                <a:solidFill>
                  <a:srgbClr val="0000BB"/>
                </a:solidFill>
                <a:latin typeface="Consolas" charset="0"/>
                <a:ea typeface="Consolas" charset="0"/>
                <a:cs typeface="Consolas" charset="0"/>
              </a:rPr>
              <a:t>', '</a:t>
            </a:r>
            <a:r>
              <a:rPr lang="en-US" dirty="0" err="1">
                <a:solidFill>
                  <a:srgbClr val="0000BB"/>
                </a:solidFill>
                <a:latin typeface="Consolas" charset="0"/>
                <a:ea typeface="Consolas" charset="0"/>
                <a:cs typeface="Consolas" charset="0"/>
              </a:rPr>
              <a:t>last_name</a:t>
            </a:r>
            <a:r>
              <a:rPr lang="en-US" dirty="0">
                <a:solidFill>
                  <a:srgbClr val="0000BB"/>
                </a:solidFill>
                <a:latin typeface="Consolas" charset="0"/>
                <a:ea typeface="Consolas" charset="0"/>
                <a:cs typeface="Consolas" charset="0"/>
              </a:rPr>
              <a:t>', 'gender', 'age']</a:t>
            </a:r>
            <a:r>
              <a:rPr lang="en-US" dirty="0">
                <a:solidFill>
                  <a:srgbClr val="000000"/>
                </a:solidFill>
                <a:latin typeface="Consolas" charset="0"/>
                <a:ea typeface="Consolas" charset="0"/>
                <a:cs typeface="Consolas" charset="0"/>
              </a:rPr>
              <a:t>)</a:t>
            </a:r>
          </a:p>
          <a:p>
            <a:r>
              <a:rPr lang="en-US" dirty="0">
                <a:solidFill>
                  <a:srgbClr val="00A019"/>
                </a:solidFill>
                <a:latin typeface="Consolas" charset="0"/>
                <a:ea typeface="Consolas" charset="0"/>
                <a:cs typeface="Consolas" charset="0"/>
              </a:rPr>
              <a:t># </a:t>
            </a:r>
            <a:r>
              <a:rPr lang="en-US" dirty="0" err="1">
                <a:solidFill>
                  <a:srgbClr val="00A019"/>
                </a:solidFill>
                <a:latin typeface="Consolas" charset="0"/>
                <a:ea typeface="Consolas" charset="0"/>
                <a:cs typeface="Consolas" charset="0"/>
              </a:rPr>
              <a:t>DataFrame</a:t>
            </a:r>
            <a:r>
              <a:rPr lang="en-US" dirty="0">
                <a:solidFill>
                  <a:srgbClr val="00A019"/>
                </a:solidFill>
                <a:latin typeface="Consolas" charset="0"/>
                <a:ea typeface="Consolas" charset="0"/>
                <a:cs typeface="Consolas" charset="0"/>
              </a:rPr>
              <a:t>[</a:t>
            </a:r>
            <a:r>
              <a:rPr lang="en-US" dirty="0" err="1">
                <a:solidFill>
                  <a:srgbClr val="00A019"/>
                </a:solidFill>
                <a:latin typeface="Consolas" charset="0"/>
                <a:ea typeface="Consolas" charset="0"/>
                <a:cs typeface="Consolas" charset="0"/>
              </a:rPr>
              <a:t>first_name</a:t>
            </a:r>
            <a:r>
              <a:rPr lang="en-US" dirty="0">
                <a:solidFill>
                  <a:srgbClr val="00A019"/>
                </a:solidFill>
                <a:latin typeface="Consolas" charset="0"/>
                <a:ea typeface="Consolas" charset="0"/>
                <a:cs typeface="Consolas" charset="0"/>
              </a:rPr>
              <a:t>: string, </a:t>
            </a:r>
            <a:r>
              <a:rPr lang="en-US" dirty="0" err="1">
                <a:solidFill>
                  <a:srgbClr val="00A019"/>
                </a:solidFill>
                <a:latin typeface="Consolas" charset="0"/>
                <a:ea typeface="Consolas" charset="0"/>
                <a:cs typeface="Consolas" charset="0"/>
              </a:rPr>
              <a:t>last_name</a:t>
            </a:r>
            <a:r>
              <a:rPr lang="en-US" dirty="0">
                <a:solidFill>
                  <a:srgbClr val="00A019"/>
                </a:solidFill>
                <a:latin typeface="Consolas" charset="0"/>
                <a:ea typeface="Consolas" charset="0"/>
                <a:cs typeface="Consolas" charset="0"/>
              </a:rPr>
              <a:t>: string, \</a:t>
            </a:r>
          </a:p>
          <a:p>
            <a:r>
              <a:rPr lang="en-US" dirty="0">
                <a:solidFill>
                  <a:srgbClr val="00A019"/>
                </a:solidFill>
                <a:latin typeface="Consolas" charset="0"/>
                <a:ea typeface="Consolas" charset="0"/>
                <a:cs typeface="Consolas" charset="0"/>
              </a:rPr>
              <a:t># gender: string, age: </a:t>
            </a:r>
            <a:r>
              <a:rPr lang="en-US" dirty="0" err="1">
                <a:solidFill>
                  <a:srgbClr val="00A019"/>
                </a:solidFill>
                <a:latin typeface="Consolas" charset="0"/>
                <a:ea typeface="Consolas" charset="0"/>
                <a:cs typeface="Consolas" charset="0"/>
              </a:rPr>
              <a:t>bigint</a:t>
            </a:r>
            <a:r>
              <a:rPr lang="en-US" dirty="0">
                <a:solidFill>
                  <a:srgbClr val="00A019"/>
                </a:solidFill>
                <a:latin typeface="Consolas" charset="0"/>
                <a:ea typeface="Consolas" charset="0"/>
                <a:cs typeface="Consolas" charset="0"/>
              </a:rPr>
              <a:t>]</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41065" y="2007561"/>
            <a:ext cx="443463" cy="443463"/>
          </a:xfrm>
          <a:prstGeom prst="rect">
            <a:avLst/>
          </a:prstGeom>
        </p:spPr>
      </p:pic>
      <p:sp>
        <p:nvSpPr>
          <p:cNvPr id="8" name="Title 1"/>
          <p:cNvSpPr>
            <a:spLocks noGrp="1"/>
          </p:cNvSpPr>
          <p:nvPr>
            <p:ph type="title"/>
          </p:nvPr>
        </p:nvSpPr>
        <p:spPr>
          <a:xfrm>
            <a:off x="425004" y="238798"/>
            <a:ext cx="11494100" cy="1143000"/>
          </a:xfrm>
        </p:spPr>
        <p:txBody>
          <a:bodyPr>
            <a:normAutofit/>
          </a:bodyPr>
          <a:lstStyle/>
          <a:p>
            <a:r>
              <a:rPr lang="en-US" dirty="0"/>
              <a:t>Schema Inference (Python)</a:t>
            </a:r>
          </a:p>
        </p:txBody>
      </p:sp>
    </p:spTree>
    <p:extLst>
      <p:ext uri="{BB962C8B-B14F-4D97-AF65-F5344CB8AC3E}">
        <p14:creationId xmlns:p14="http://schemas.microsoft.com/office/powerpoint/2010/main" val="142802738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095271" y="1006570"/>
            <a:ext cx="9998109" cy="5210481"/>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9" name="Rectangle 8"/>
          <p:cNvSpPr/>
          <p:nvPr/>
        </p:nvSpPr>
        <p:spPr>
          <a:xfrm>
            <a:off x="1287548" y="1155144"/>
            <a:ext cx="9805833" cy="4730341"/>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b="1" dirty="0">
                <a:solidFill>
                  <a:srgbClr val="7F0055"/>
                </a:solidFill>
                <a:latin typeface="Consolas" charset="0"/>
                <a:ea typeface="Consolas" charset="0"/>
                <a:cs typeface="Consolas" charset="0"/>
              </a:rPr>
              <a:t>from </a:t>
            </a:r>
            <a:r>
              <a:rPr lang="en-US" dirty="0">
                <a:solidFill>
                  <a:srgbClr val="000000"/>
                </a:solidFill>
                <a:latin typeface="Consolas" charset="0"/>
                <a:ea typeface="Consolas" charset="0"/>
                <a:cs typeface="Consolas" charset="0"/>
              </a:rPr>
              <a:t>collections</a:t>
            </a:r>
            <a:r>
              <a:rPr lang="en-US" b="1" dirty="0">
                <a:solidFill>
                  <a:srgbClr val="000000"/>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import </a:t>
            </a:r>
            <a:r>
              <a:rPr lang="en-US" dirty="0" err="1">
                <a:solidFill>
                  <a:srgbClr val="000000"/>
                </a:solidFill>
                <a:latin typeface="Consolas" charset="0"/>
                <a:ea typeface="Consolas" charset="0"/>
                <a:cs typeface="Consolas" charset="0"/>
              </a:rPr>
              <a:t>namedtuple</a:t>
            </a:r>
            <a:endParaRPr lang="en-US" dirty="0">
              <a:solidFill>
                <a:srgbClr val="000000"/>
              </a:solidFill>
              <a:latin typeface="Consolas" charset="0"/>
              <a:ea typeface="Consolas" charset="0"/>
              <a:cs typeface="Consolas" charset="0"/>
            </a:endParaRPr>
          </a:p>
          <a:p>
            <a:endParaRPr lang="en-US" dirty="0">
              <a:solidFill>
                <a:srgbClr val="000000"/>
              </a:solidFill>
              <a:latin typeface="Consolas" charset="0"/>
              <a:ea typeface="Consolas" charset="0"/>
              <a:cs typeface="Consolas" charset="0"/>
            </a:endParaRPr>
          </a:p>
          <a:p>
            <a:r>
              <a:rPr lang="en-US" dirty="0">
                <a:solidFill>
                  <a:srgbClr val="000000"/>
                </a:solidFill>
                <a:latin typeface="Consolas" charset="0"/>
                <a:ea typeface="Consolas" charset="0"/>
                <a:cs typeface="Consolas" charset="0"/>
              </a:rPr>
              <a:t>Person = </a:t>
            </a:r>
            <a:r>
              <a:rPr lang="en-US" dirty="0" err="1">
                <a:solidFill>
                  <a:srgbClr val="000000"/>
                </a:solidFill>
                <a:latin typeface="Consolas" charset="0"/>
                <a:ea typeface="Consolas" charset="0"/>
                <a:cs typeface="Consolas" charset="0"/>
              </a:rPr>
              <a:t>namedtup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Person',</a:t>
            </a:r>
          </a:p>
          <a:p>
            <a:r>
              <a:rPr lang="en-US" dirty="0">
                <a:latin typeface="Consolas" charset="0"/>
                <a:ea typeface="Consolas" charset="0"/>
                <a:cs typeface="Consolas" charset="0"/>
              </a:rPr>
              <a:t>    [</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first_name</a:t>
            </a:r>
            <a:r>
              <a:rPr lang="en-US" dirty="0">
                <a:solidFill>
                  <a:srgbClr val="0000BB"/>
                </a:solidFill>
                <a:latin typeface="Consolas" charset="0"/>
                <a:ea typeface="Consolas" charset="0"/>
                <a:cs typeface="Consolas" charset="0"/>
              </a:rPr>
              <a:t>', '</a:t>
            </a:r>
            <a:r>
              <a:rPr lang="en-US" dirty="0" err="1">
                <a:solidFill>
                  <a:srgbClr val="0000BB"/>
                </a:solidFill>
                <a:latin typeface="Consolas" charset="0"/>
                <a:ea typeface="Consolas" charset="0"/>
                <a:cs typeface="Consolas" charset="0"/>
              </a:rPr>
              <a:t>last_name</a:t>
            </a:r>
            <a:r>
              <a:rPr lang="en-US" dirty="0">
                <a:solidFill>
                  <a:srgbClr val="0000BB"/>
                </a:solidFill>
                <a:latin typeface="Consolas" charset="0"/>
                <a:ea typeface="Consolas" charset="0"/>
                <a:cs typeface="Consolas" charset="0"/>
              </a:rPr>
              <a:t>', 'gender', 'age']</a:t>
            </a:r>
          </a:p>
          <a:p>
            <a:r>
              <a:rPr lang="en-US" dirty="0">
                <a:latin typeface="Consolas" charset="0"/>
                <a:ea typeface="Consolas" charset="0"/>
                <a:cs typeface="Consolas" charset="0"/>
              </a:rPr>
              <a:t>)</a:t>
            </a:r>
          </a:p>
          <a:p>
            <a:r>
              <a:rPr lang="en-US" dirty="0" err="1">
                <a:solidFill>
                  <a:srgbClr val="000000"/>
                </a:solidFill>
                <a:latin typeface="Consolas" charset="0"/>
                <a:ea typeface="Consolas" charset="0"/>
                <a:cs typeface="Consolas" charset="0"/>
              </a:rPr>
              <a:t>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c.textFi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people.csv</a:t>
            </a:r>
            <a:r>
              <a:rPr lang="en-US" dirty="0">
                <a:solidFill>
                  <a:srgbClr val="0000BB"/>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b="1" dirty="0" err="1">
                <a:solidFill>
                  <a:srgbClr val="7F0055"/>
                </a:solidFill>
                <a:latin typeface="Consolas" charset="0"/>
                <a:ea typeface="Consolas" charset="0"/>
                <a:cs typeface="Consolas" charset="0"/>
              </a:rPr>
              <a:t>def</a:t>
            </a:r>
            <a:r>
              <a:rPr lang="en-US" b="1" dirty="0">
                <a:solidFill>
                  <a:srgbClr val="7F0055"/>
                </a:solidFill>
                <a:latin typeface="Consolas" charset="0"/>
                <a:ea typeface="Consolas" charset="0"/>
                <a:cs typeface="Consolas" charset="0"/>
              </a:rPr>
              <a:t> </a:t>
            </a:r>
            <a:r>
              <a:rPr lang="en-US" dirty="0" err="1">
                <a:solidFill>
                  <a:srgbClr val="0000FF"/>
                </a:solidFill>
                <a:latin typeface="Consolas" charset="0"/>
                <a:ea typeface="Consolas" charset="0"/>
                <a:cs typeface="Consolas" charset="0"/>
              </a:rPr>
              <a:t>line_to_person</a:t>
            </a:r>
            <a:r>
              <a:rPr lang="en-US" dirty="0">
                <a:solidFill>
                  <a:schemeClr val="tx1"/>
                </a:solidFill>
                <a:latin typeface="Consolas" charset="0"/>
                <a:ea typeface="Consolas" charset="0"/>
                <a:cs typeface="Consolas" charset="0"/>
              </a:rPr>
              <a:t>(</a:t>
            </a:r>
            <a:r>
              <a:rPr lang="en-US" dirty="0">
                <a:solidFill>
                  <a:srgbClr val="000000"/>
                </a:solidFill>
                <a:latin typeface="Consolas" charset="0"/>
                <a:ea typeface="Consolas" charset="0"/>
                <a:cs typeface="Consolas" charset="0"/>
              </a:rPr>
              <a:t>line):</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cells = </a:t>
            </a:r>
            <a:r>
              <a:rPr lang="en-US" dirty="0" err="1">
                <a:solidFill>
                  <a:srgbClr val="000000"/>
                </a:solidFill>
                <a:latin typeface="Consolas" charset="0"/>
                <a:ea typeface="Consolas" charset="0"/>
                <a:cs typeface="Consolas" charset="0"/>
              </a:rPr>
              <a:t>line.spli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p>
          <a:p>
            <a:r>
              <a:rPr lang="en-US" dirty="0">
                <a:latin typeface="Consolas" charset="0"/>
                <a:ea typeface="Consolas" charset="0"/>
                <a:cs typeface="Consolas" charset="0"/>
              </a:rPr>
              <a:t>    </a:t>
            </a:r>
            <a:r>
              <a:rPr lang="en-US" b="1" dirty="0">
                <a:solidFill>
                  <a:srgbClr val="7F0055"/>
                </a:solidFill>
                <a:latin typeface="Consolas" charset="0"/>
                <a:ea typeface="Consolas" charset="0"/>
                <a:cs typeface="Consolas" charset="0"/>
              </a:rPr>
              <a:t>return </a:t>
            </a:r>
            <a:r>
              <a:rPr lang="en-US" dirty="0">
                <a:solidFill>
                  <a:srgbClr val="000000"/>
                </a:solidFill>
                <a:latin typeface="Consolas" charset="0"/>
                <a:ea typeface="Consolas" charset="0"/>
                <a:cs typeface="Consolas" charset="0"/>
              </a:rPr>
              <a:t>Person(cells[0], cells[1], cells[2], </a:t>
            </a:r>
            <a:r>
              <a:rPr lang="en-US" dirty="0" err="1">
                <a:solidFill>
                  <a:srgbClr val="000000"/>
                </a:solidFill>
                <a:latin typeface="Consolas" charset="0"/>
                <a:ea typeface="Consolas" charset="0"/>
                <a:cs typeface="Consolas" charset="0"/>
              </a:rPr>
              <a:t>int</a:t>
            </a:r>
            <a:r>
              <a:rPr lang="en-US" dirty="0">
                <a:solidFill>
                  <a:srgbClr val="000000"/>
                </a:solidFill>
                <a:latin typeface="Consolas" charset="0"/>
                <a:ea typeface="Consolas" charset="0"/>
                <a:cs typeface="Consolas" charset="0"/>
              </a:rPr>
              <a:t>(cells[3]))</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people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rdd.map</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line_to_person</a:t>
            </a:r>
            <a:r>
              <a:rPr lang="en-US" dirty="0">
                <a:solidFill>
                  <a:srgbClr val="000000"/>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d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peopleRDD.toDF</a:t>
            </a:r>
            <a:r>
              <a:rPr lang="en-US" dirty="0">
                <a:solidFill>
                  <a:srgbClr val="000000"/>
                </a:solidFill>
                <a:latin typeface="Consolas" charset="0"/>
                <a:ea typeface="Consolas" charset="0"/>
                <a:cs typeface="Consolas" charset="0"/>
              </a:rPr>
              <a:t>()</a:t>
            </a:r>
          </a:p>
          <a:p>
            <a:r>
              <a:rPr lang="en-US" dirty="0">
                <a:solidFill>
                  <a:srgbClr val="00A019"/>
                </a:solidFill>
                <a:latin typeface="Consolas" charset="0"/>
                <a:ea typeface="Consolas" charset="0"/>
                <a:cs typeface="Consolas" charset="0"/>
              </a:rPr>
              <a:t># </a:t>
            </a:r>
            <a:r>
              <a:rPr lang="en-US" dirty="0" err="1">
                <a:solidFill>
                  <a:srgbClr val="00A019"/>
                </a:solidFill>
                <a:latin typeface="Consolas" charset="0"/>
                <a:ea typeface="Consolas" charset="0"/>
                <a:cs typeface="Consolas" charset="0"/>
              </a:rPr>
              <a:t>DataFrame</a:t>
            </a:r>
            <a:r>
              <a:rPr lang="en-US" dirty="0">
                <a:solidFill>
                  <a:srgbClr val="00A019"/>
                </a:solidFill>
                <a:latin typeface="Consolas" charset="0"/>
                <a:ea typeface="Consolas" charset="0"/>
                <a:cs typeface="Consolas" charset="0"/>
              </a:rPr>
              <a:t>[</a:t>
            </a:r>
            <a:r>
              <a:rPr lang="en-US" dirty="0" err="1">
                <a:solidFill>
                  <a:srgbClr val="00A019"/>
                </a:solidFill>
                <a:latin typeface="Consolas" charset="0"/>
                <a:ea typeface="Consolas" charset="0"/>
                <a:cs typeface="Consolas" charset="0"/>
              </a:rPr>
              <a:t>first_name</a:t>
            </a:r>
            <a:r>
              <a:rPr lang="en-US" dirty="0">
                <a:solidFill>
                  <a:srgbClr val="00A019"/>
                </a:solidFill>
                <a:latin typeface="Consolas" charset="0"/>
                <a:ea typeface="Consolas" charset="0"/>
                <a:cs typeface="Consolas" charset="0"/>
              </a:rPr>
              <a:t>: string, </a:t>
            </a:r>
            <a:r>
              <a:rPr lang="en-US" dirty="0" err="1">
                <a:solidFill>
                  <a:srgbClr val="00A019"/>
                </a:solidFill>
                <a:latin typeface="Consolas" charset="0"/>
                <a:ea typeface="Consolas" charset="0"/>
                <a:cs typeface="Consolas" charset="0"/>
              </a:rPr>
              <a:t>last_name</a:t>
            </a:r>
            <a:r>
              <a:rPr lang="en-US" dirty="0">
                <a:solidFill>
                  <a:srgbClr val="00A019"/>
                </a:solidFill>
                <a:latin typeface="Consolas" charset="0"/>
                <a:ea typeface="Consolas" charset="0"/>
                <a:cs typeface="Consolas" charset="0"/>
              </a:rPr>
              <a:t>: string, \</a:t>
            </a:r>
          </a:p>
          <a:p>
            <a:r>
              <a:rPr lang="en-US" dirty="0">
                <a:solidFill>
                  <a:srgbClr val="00A019"/>
                </a:solidFill>
                <a:latin typeface="Consolas" charset="0"/>
                <a:ea typeface="Consolas" charset="0"/>
                <a:cs typeface="Consolas" charset="0"/>
              </a:rPr>
              <a:t># gender: string, age: </a:t>
            </a:r>
            <a:r>
              <a:rPr lang="en-US" dirty="0" err="1">
                <a:solidFill>
                  <a:srgbClr val="00A019"/>
                </a:solidFill>
                <a:latin typeface="Consolas" charset="0"/>
                <a:ea typeface="Consolas" charset="0"/>
                <a:cs typeface="Consolas" charset="0"/>
              </a:rPr>
              <a:t>bigint</a:t>
            </a:r>
            <a:r>
              <a:rPr lang="en-US" dirty="0">
                <a:solidFill>
                  <a:srgbClr val="00A019"/>
                </a:solidFill>
                <a:latin typeface="Consolas" charset="0"/>
                <a:ea typeface="Consolas" charset="0"/>
                <a:cs typeface="Consolas" charset="0"/>
              </a:rPr>
              <a:t>]</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72971" y="1265294"/>
            <a:ext cx="443463" cy="443463"/>
          </a:xfrm>
          <a:prstGeom prst="rect">
            <a:avLst/>
          </a:prstGeom>
        </p:spPr>
      </p:pic>
      <p:sp>
        <p:nvSpPr>
          <p:cNvPr id="8" name="Title 1"/>
          <p:cNvSpPr>
            <a:spLocks noGrp="1"/>
          </p:cNvSpPr>
          <p:nvPr>
            <p:ph type="title"/>
          </p:nvPr>
        </p:nvSpPr>
        <p:spPr>
          <a:xfrm>
            <a:off x="1" y="-31661"/>
            <a:ext cx="11494100" cy="1143000"/>
          </a:xfrm>
        </p:spPr>
        <p:txBody>
          <a:bodyPr>
            <a:normAutofit/>
          </a:bodyPr>
          <a:lstStyle/>
          <a:p>
            <a:r>
              <a:rPr lang="en-US" dirty="0"/>
              <a:t>Schema Inference (Python)</a:t>
            </a:r>
          </a:p>
        </p:txBody>
      </p:sp>
    </p:spTree>
    <p:extLst>
      <p:ext uri="{BB962C8B-B14F-4D97-AF65-F5344CB8AC3E}">
        <p14:creationId xmlns:p14="http://schemas.microsoft.com/office/powerpoint/2010/main" val="265350549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69239" y="2980789"/>
            <a:ext cx="3575287" cy="765878"/>
          </a:xfrm>
          <a:prstGeom prst="rect">
            <a:avLst/>
          </a:prstGeom>
        </p:spPr>
      </p:pic>
      <p:sp>
        <p:nvSpPr>
          <p:cNvPr id="12" name="Text Box 3"/>
          <p:cNvSpPr txBox="1">
            <a:spLocks noChangeArrowheads="1"/>
          </p:cNvSpPr>
          <p:nvPr/>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686" kern="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895888" eaLnBrk="0" hangingPunct="0"/>
            <a:r>
              <a:rPr lang="en-US" sz="686" kern="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693699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Frames</a:t>
            </a:r>
            <a:r>
              <a:rPr lang="en-US" dirty="0"/>
              <a:t> </a:t>
            </a:r>
            <a:r>
              <a:rPr lang="en-US" dirty="0" smtClean="0"/>
              <a:t>Features</a:t>
            </a:r>
            <a:endParaRPr lang="en-US" dirty="0"/>
          </a:p>
        </p:txBody>
      </p:sp>
      <p:sp>
        <p:nvSpPr>
          <p:cNvPr id="3" name="Content Placeholder 2"/>
          <p:cNvSpPr>
            <a:spLocks noGrp="1"/>
          </p:cNvSpPr>
          <p:nvPr>
            <p:ph idx="4294967295"/>
          </p:nvPr>
        </p:nvSpPr>
        <p:spPr>
          <a:xfrm>
            <a:off x="589504" y="1418169"/>
            <a:ext cx="11059288" cy="5160683"/>
          </a:xfrm>
          <a:prstGeom prst="rect">
            <a:avLst/>
          </a:prstGeom>
        </p:spPr>
        <p:txBody>
          <a:bodyPr>
            <a:noAutofit/>
          </a:bodyPr>
          <a:lstStyle/>
          <a:p>
            <a:pPr marL="457189" indent="-457189">
              <a:spcBef>
                <a:spcPts val="1333"/>
              </a:spcBef>
              <a:buFont typeface="Arial" charset="0"/>
              <a:buChar char="•"/>
            </a:pPr>
            <a:r>
              <a:rPr lang="en-US" sz="3200" dirty="0" smtClean="0"/>
              <a:t>Ability </a:t>
            </a:r>
            <a:r>
              <a:rPr lang="en-US" sz="3200" dirty="0"/>
              <a:t>to scale from kilobytes of data on a single laptop to petabytes on a large cluster</a:t>
            </a:r>
          </a:p>
          <a:p>
            <a:pPr marL="457189" indent="-457189">
              <a:spcBef>
                <a:spcPts val="1333"/>
              </a:spcBef>
              <a:buFont typeface="Arial" charset="0"/>
              <a:buChar char="•"/>
            </a:pPr>
            <a:r>
              <a:rPr lang="en-US" sz="3200" dirty="0"/>
              <a:t>Support for a wide array of data formats and storage systems</a:t>
            </a:r>
          </a:p>
          <a:p>
            <a:pPr marL="457189" indent="-457189">
              <a:spcBef>
                <a:spcPts val="1333"/>
              </a:spcBef>
              <a:buFont typeface="Arial" charset="0"/>
              <a:buChar char="•"/>
            </a:pPr>
            <a:r>
              <a:rPr lang="en-US" sz="3200" b="1" dirty="0"/>
              <a:t>State-of-the-art optimization and code generation through the Spark SQL </a:t>
            </a:r>
            <a:r>
              <a:rPr lang="en-US" sz="3200" b="1" dirty="0">
                <a:hlinkClick r:id="rId3"/>
              </a:rPr>
              <a:t>Catalyst</a:t>
            </a:r>
            <a:r>
              <a:rPr lang="en-US" sz="3200" b="1" dirty="0"/>
              <a:t> optimizer</a:t>
            </a:r>
          </a:p>
          <a:p>
            <a:pPr marL="457189" indent="-457189">
              <a:spcBef>
                <a:spcPts val="1333"/>
              </a:spcBef>
              <a:buFont typeface="Arial" charset="0"/>
              <a:buChar char="•"/>
            </a:pPr>
            <a:r>
              <a:rPr lang="en-US" sz="3200" dirty="0"/>
              <a:t>Seamless integration with all big data tooling and infrastructure via Spark</a:t>
            </a:r>
          </a:p>
          <a:p>
            <a:pPr marL="457189" indent="-457189">
              <a:spcBef>
                <a:spcPts val="1333"/>
              </a:spcBef>
              <a:buFont typeface="Arial" charset="0"/>
              <a:buChar char="•"/>
            </a:pPr>
            <a:r>
              <a:rPr lang="en-US" sz="3200" dirty="0"/>
              <a:t>APIs for Python, Java, Scala, and </a:t>
            </a:r>
            <a:r>
              <a:rPr lang="en-US" sz="3200" dirty="0" smtClean="0"/>
              <a:t>R</a:t>
            </a:r>
            <a:endParaRPr lang="en-US" sz="3200" dirty="0"/>
          </a:p>
        </p:txBody>
      </p:sp>
    </p:spTree>
    <p:extLst>
      <p:ext uri="{BB962C8B-B14F-4D97-AF65-F5344CB8AC3E}">
        <p14:creationId xmlns:p14="http://schemas.microsoft.com/office/powerpoint/2010/main" val="1726215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lstStyle/>
          <a:p>
            <a:r>
              <a:rPr lang="en-US" dirty="0" smtClean="0"/>
              <a:t>DataFrames</a:t>
            </a:r>
          </a:p>
        </p:txBody>
      </p:sp>
      <p:sp>
        <p:nvSpPr>
          <p:cNvPr id="3" name="Content Placeholder 2"/>
          <p:cNvSpPr>
            <a:spLocks noGrp="1"/>
          </p:cNvSpPr>
          <p:nvPr>
            <p:ph idx="4294967295"/>
          </p:nvPr>
        </p:nvSpPr>
        <p:spPr>
          <a:xfrm>
            <a:off x="1676402" y="1295400"/>
            <a:ext cx="9380897" cy="5105400"/>
          </a:xfrm>
          <a:prstGeom prst="rect">
            <a:avLst/>
          </a:prstGeom>
        </p:spPr>
        <p:txBody>
          <a:bodyPr>
            <a:normAutofit fontScale="92500" lnSpcReduction="20000"/>
          </a:bodyPr>
          <a:lstStyle/>
          <a:p>
            <a:r>
              <a:rPr lang="en-US" dirty="0" smtClean="0"/>
              <a:t>The preferred abstraction </a:t>
            </a:r>
            <a:r>
              <a:rPr lang="en-US" dirty="0"/>
              <a:t>in </a:t>
            </a:r>
            <a:r>
              <a:rPr lang="en-US" dirty="0" smtClean="0"/>
              <a:t>Spark (introduced in 1.3)</a:t>
            </a:r>
            <a:endParaRPr lang="en-US" dirty="0"/>
          </a:p>
          <a:p>
            <a:pPr lvl="1"/>
            <a:r>
              <a:rPr lang="en-US" sz="2800" b="1" dirty="0"/>
              <a:t>Strongly typed collection of distributed elements</a:t>
            </a:r>
          </a:p>
          <a:p>
            <a:pPr lvl="2"/>
            <a:r>
              <a:rPr lang="en-US" sz="2800" dirty="0"/>
              <a:t>Built on Resilient Distributed Datasets</a:t>
            </a:r>
          </a:p>
          <a:p>
            <a:pPr lvl="1"/>
            <a:r>
              <a:rPr lang="en-US" sz="2800" b="1" u="sng" dirty="0"/>
              <a:t>Immutable once constructed</a:t>
            </a:r>
          </a:p>
          <a:p>
            <a:pPr lvl="1"/>
            <a:r>
              <a:rPr lang="en-US" sz="2800" dirty="0"/>
              <a:t>Track lineage information to efficiently </a:t>
            </a:r>
            <a:r>
              <a:rPr lang="en-US" sz="2800" dirty="0" err="1"/>
              <a:t>recompute</a:t>
            </a:r>
            <a:r>
              <a:rPr lang="en-US" sz="2800" dirty="0"/>
              <a:t> lost data</a:t>
            </a:r>
          </a:p>
          <a:p>
            <a:pPr lvl="1"/>
            <a:r>
              <a:rPr lang="en-US" sz="2800" dirty="0"/>
              <a:t>Enable operations on collection of elements in parallel</a:t>
            </a:r>
          </a:p>
          <a:p>
            <a:pPr lvl="1"/>
            <a:endParaRPr lang="en-US" dirty="0"/>
          </a:p>
          <a:p>
            <a:r>
              <a:rPr lang="en-US" dirty="0" smtClean="0"/>
              <a:t>You construct DataFrames</a:t>
            </a:r>
            <a:endParaRPr lang="en-US" dirty="0"/>
          </a:p>
          <a:p>
            <a:pPr lvl="1"/>
            <a:r>
              <a:rPr lang="en-US" sz="2800" dirty="0"/>
              <a:t>by</a:t>
            </a:r>
            <a:r>
              <a:rPr lang="en-US" sz="2800" i="1" dirty="0"/>
              <a:t> parallelizing </a:t>
            </a:r>
            <a:r>
              <a:rPr lang="en-US" sz="2800" dirty="0"/>
              <a:t>existing collections (e.g., Pandas DataFrames) </a:t>
            </a:r>
          </a:p>
          <a:p>
            <a:pPr lvl="1"/>
            <a:r>
              <a:rPr lang="en-US" sz="2800" dirty="0"/>
              <a:t>by</a:t>
            </a:r>
            <a:r>
              <a:rPr lang="en-US" sz="2800" i="1" dirty="0"/>
              <a:t> transforming</a:t>
            </a:r>
            <a:r>
              <a:rPr lang="en-US" sz="2800" dirty="0"/>
              <a:t> an existing DataFrames</a:t>
            </a:r>
          </a:p>
          <a:p>
            <a:pPr lvl="1"/>
            <a:r>
              <a:rPr lang="en-US" sz="2800" dirty="0"/>
              <a:t>from</a:t>
            </a:r>
            <a:r>
              <a:rPr lang="en-US" sz="2800" i="1" dirty="0"/>
              <a:t> files </a:t>
            </a:r>
            <a:r>
              <a:rPr lang="en-US" sz="2800" dirty="0"/>
              <a:t>in HDFS or any other storage system (e.g., Parquet)</a:t>
            </a:r>
          </a:p>
        </p:txBody>
      </p:sp>
    </p:spTree>
    <p:extLst>
      <p:ext uri="{BB962C8B-B14F-4D97-AF65-F5344CB8AC3E}">
        <p14:creationId xmlns:p14="http://schemas.microsoft.com/office/powerpoint/2010/main" val="20832450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Frames versus RDDs</a:t>
            </a:r>
            <a:endParaRPr lang="en-US" dirty="0"/>
          </a:p>
        </p:txBody>
      </p:sp>
      <p:sp>
        <p:nvSpPr>
          <p:cNvPr id="3" name="Content Placeholder 2"/>
          <p:cNvSpPr>
            <a:spLocks noGrp="1"/>
          </p:cNvSpPr>
          <p:nvPr>
            <p:ph idx="4294967295"/>
          </p:nvPr>
        </p:nvSpPr>
        <p:spPr>
          <a:xfrm>
            <a:off x="786803" y="1418170"/>
            <a:ext cx="10642550" cy="4737943"/>
          </a:xfrm>
          <a:prstGeom prst="rect">
            <a:avLst/>
          </a:prstGeom>
        </p:spPr>
        <p:txBody>
          <a:bodyPr>
            <a:normAutofit fontScale="77500" lnSpcReduction="20000"/>
          </a:bodyPr>
          <a:lstStyle/>
          <a:p>
            <a:r>
              <a:rPr lang="en-US" b="1" dirty="0"/>
              <a:t>Familiar</a:t>
            </a:r>
            <a:br>
              <a:rPr lang="en-US" b="1" dirty="0"/>
            </a:br>
            <a:r>
              <a:rPr lang="en-US" dirty="0"/>
              <a:t>For new users familiar with data frames in other programming languages, this API should make them feel at home</a:t>
            </a:r>
          </a:p>
          <a:p>
            <a:endParaRPr lang="en-US" dirty="0"/>
          </a:p>
          <a:p>
            <a:r>
              <a:rPr lang="en-US" b="1" dirty="0"/>
              <a:t>Easy</a:t>
            </a:r>
            <a:br>
              <a:rPr lang="en-US" b="1" dirty="0"/>
            </a:br>
            <a:r>
              <a:rPr lang="en-US" dirty="0"/>
              <a:t>For existing Spark users, the API will make Spark easier to program than using RDDs</a:t>
            </a:r>
          </a:p>
          <a:p>
            <a:endParaRPr lang="en-US" dirty="0"/>
          </a:p>
          <a:p>
            <a:r>
              <a:rPr lang="en-US" b="1" dirty="0"/>
              <a:t>Optimized</a:t>
            </a:r>
            <a:r>
              <a:rPr lang="en-US" dirty="0"/>
              <a:t/>
            </a:r>
            <a:br>
              <a:rPr lang="en-US" dirty="0"/>
            </a:br>
            <a:r>
              <a:rPr lang="en-US" dirty="0"/>
              <a:t>For both sets of users, </a:t>
            </a:r>
            <a:r>
              <a:rPr lang="en-US" dirty="0" err="1"/>
              <a:t>DataFrames</a:t>
            </a:r>
            <a:r>
              <a:rPr lang="en-US" dirty="0"/>
              <a:t> will improve performance through intelligent optimizations and code-generation</a:t>
            </a:r>
          </a:p>
        </p:txBody>
      </p:sp>
    </p:spTree>
    <p:extLst>
      <p:ext uri="{BB962C8B-B14F-4D97-AF65-F5344CB8AC3E}">
        <p14:creationId xmlns:p14="http://schemas.microsoft.com/office/powerpoint/2010/main" val="15341065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3.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4.xml><?xml version="1.0" encoding="utf-8"?>
<a:theme xmlns:a="http://schemas.openxmlformats.org/drawingml/2006/main" name="1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3</TotalTime>
  <Words>7467</Words>
  <Application>Microsoft Macintosh PowerPoint</Application>
  <PresentationFormat>Widescreen</PresentationFormat>
  <Paragraphs>912</Paragraphs>
  <Slides>66</Slides>
  <Notes>49</Notes>
  <HiddenSlides>1</HiddenSlides>
  <MMClips>0</MMClips>
  <ScaleCrop>false</ScaleCrop>
  <HeadingPairs>
    <vt:vector size="8" baseType="variant">
      <vt:variant>
        <vt:lpstr>Fonts Used</vt:lpstr>
      </vt:variant>
      <vt:variant>
        <vt:i4>18</vt:i4>
      </vt:variant>
      <vt:variant>
        <vt:lpstr>Theme</vt:lpstr>
      </vt:variant>
      <vt:variant>
        <vt:i4>4</vt:i4>
      </vt:variant>
      <vt:variant>
        <vt:lpstr>Embedded OLE Servers</vt:lpstr>
      </vt:variant>
      <vt:variant>
        <vt:i4>1</vt:i4>
      </vt:variant>
      <vt:variant>
        <vt:lpstr>Slide Titles</vt:lpstr>
      </vt:variant>
      <vt:variant>
        <vt:i4>66</vt:i4>
      </vt:variant>
    </vt:vector>
  </HeadingPairs>
  <TitlesOfParts>
    <vt:vector size="89" baseType="lpstr">
      <vt:lpstr>Anonymous Pro</vt:lpstr>
      <vt:lpstr>Arial Black</vt:lpstr>
      <vt:lpstr>Calibri</vt:lpstr>
      <vt:lpstr>Calibri Light</vt:lpstr>
      <vt:lpstr>Consolas</vt:lpstr>
      <vt:lpstr>Courier</vt:lpstr>
      <vt:lpstr>MS PGothic</vt:lpstr>
      <vt:lpstr>ＭＳ Ｐゴシック</vt:lpstr>
      <vt:lpstr>Newslab Thin</vt:lpstr>
      <vt:lpstr>Segoe</vt:lpstr>
      <vt:lpstr>Segoe Pro</vt:lpstr>
      <vt:lpstr>Segoe Semibold</vt:lpstr>
      <vt:lpstr>Segoe UI</vt:lpstr>
      <vt:lpstr>Segoe UI Light</vt:lpstr>
      <vt:lpstr>Source Sans Pro</vt:lpstr>
      <vt:lpstr>Source Sans Pro Light</vt:lpstr>
      <vt:lpstr>Wingdings</vt:lpstr>
      <vt:lpstr>Arial</vt:lpstr>
      <vt:lpstr>Office Theme</vt:lpstr>
      <vt:lpstr>ads-edu-theme</vt:lpstr>
      <vt:lpstr>2_Windows Server</vt:lpstr>
      <vt:lpstr>1_Theme1</vt:lpstr>
      <vt:lpstr>think-cell Slide</vt:lpstr>
      <vt:lpstr>Spark on HDInsight Spark SQL</vt:lpstr>
      <vt:lpstr>Spark SQL</vt:lpstr>
      <vt:lpstr>PowerPoint Presentation</vt:lpstr>
      <vt:lpstr>Spark SQL overview</vt:lpstr>
      <vt:lpstr>Spark SQL</vt:lpstr>
      <vt:lpstr>DataFrames API - motivation</vt:lpstr>
      <vt:lpstr>DataFrames Features</vt:lpstr>
      <vt:lpstr>DataFrames</vt:lpstr>
      <vt:lpstr>DataFrames versus RDDs</vt:lpstr>
      <vt:lpstr>Write Less Code: Input &amp; Output</vt:lpstr>
      <vt:lpstr>Write Less Code: Input &amp; Output</vt:lpstr>
      <vt:lpstr>Write Less Code: Input &amp; Output</vt:lpstr>
      <vt:lpstr>Write Less Code: Input &amp; Output</vt:lpstr>
      <vt:lpstr>Spark SQL overview</vt:lpstr>
      <vt:lpstr>Spark SQL</vt:lpstr>
      <vt:lpstr>What Kind of SQL Is This?</vt:lpstr>
      <vt:lpstr>Dude, Where’s my Table?</vt:lpstr>
      <vt:lpstr>DataFrames API – The Preferred Data Abstraction</vt:lpstr>
      <vt:lpstr>Write Less Code: Compute an Average</vt:lpstr>
      <vt:lpstr>PowerPoint Presentation</vt:lpstr>
      <vt:lpstr>Creating DataFrames from data sources</vt:lpstr>
      <vt:lpstr>Creating DataFrames from RDDs</vt:lpstr>
      <vt:lpstr>DataFrame operations</vt:lpstr>
      <vt:lpstr>Tables and queries</vt:lpstr>
      <vt:lpstr>Hive tables</vt:lpstr>
      <vt:lpstr>Datasets and DataFrame Optimizations Using Catalyst</vt:lpstr>
      <vt:lpstr>From RDD to Dataset: What is RDD?</vt:lpstr>
      <vt:lpstr>From RDD to Dataset: What is RDD?</vt:lpstr>
      <vt:lpstr>From RDD to Dataset: What is Dataset?</vt:lpstr>
      <vt:lpstr>Structured APIs in Spark</vt:lpstr>
      <vt:lpstr>DataFrame = Dataset[Row]</vt:lpstr>
      <vt:lpstr>Logical query plan</vt:lpstr>
      <vt:lpstr>Structured computation</vt:lpstr>
      <vt:lpstr>Catalyst Expressions</vt:lpstr>
      <vt:lpstr>Predicate pushdown</vt:lpstr>
      <vt:lpstr>Spark Structured Data Model</vt:lpstr>
      <vt:lpstr>Tungsten’s compact row encoding</vt:lpstr>
      <vt:lpstr>Tungsten’s compact encoding types</vt:lpstr>
      <vt:lpstr>Space efficiency</vt:lpstr>
      <vt:lpstr>Serialization performance</vt:lpstr>
      <vt:lpstr>Whole-stage codegen: Spark as a Compiler</vt:lpstr>
      <vt:lpstr>Generated code operates directly on compact encoding</vt:lpstr>
      <vt:lpstr>TPC-DS benchmark results</vt:lpstr>
      <vt:lpstr>Query Plans and Optimizations in Spark SQL</vt:lpstr>
      <vt:lpstr>The Art of Being Lazy</vt:lpstr>
      <vt:lpstr>Transformations, Actions, Laziness</vt:lpstr>
      <vt:lpstr>Catalyst Query Optimizer</vt:lpstr>
      <vt:lpstr>Logical Plan Optimization and Physical Execution</vt:lpstr>
      <vt:lpstr>Logical Plan Optimization and Physical Execution</vt:lpstr>
      <vt:lpstr>Logical Plan Optimization and Physical Execution</vt:lpstr>
      <vt:lpstr>Intelligent Data Sources</vt:lpstr>
      <vt:lpstr>Explain</vt:lpstr>
      <vt:lpstr>Explain</vt:lpstr>
      <vt:lpstr>DataFrame limitations</vt:lpstr>
      <vt:lpstr>Creating a DataFrame in Scala</vt:lpstr>
      <vt:lpstr>Creating a DataFrame in Python</vt:lpstr>
      <vt:lpstr>printSchema()</vt:lpstr>
      <vt:lpstr>Schema Inference</vt:lpstr>
      <vt:lpstr>Schema Inference Example</vt:lpstr>
      <vt:lpstr>Schema Inference (Scala)</vt:lpstr>
      <vt:lpstr>Schema Inference (Python)</vt:lpstr>
      <vt:lpstr>Schema Inference</vt:lpstr>
      <vt:lpstr>Schema Inference (Scala)</vt:lpstr>
      <vt:lpstr>Schema Inference (Python)</vt:lpstr>
      <vt:lpstr>Schema Inference (Python)</vt:lpstr>
      <vt:lpstr>PowerPoint Presentation</vt:lpstr>
    </vt:vector>
  </TitlesOfParts>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rk on HDInsight Spark SQL</dc:title>
  <dc:creator>Ali-Kazim Zaidi</dc:creator>
  <cp:lastModifiedBy>Ali-Kazim Zaidi</cp:lastModifiedBy>
  <cp:revision>16</cp:revision>
  <dcterms:created xsi:type="dcterms:W3CDTF">2017-01-20T16:55:37Z</dcterms:created>
  <dcterms:modified xsi:type="dcterms:W3CDTF">2017-08-28T12:03:43Z</dcterms:modified>
</cp:coreProperties>
</file>